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5" r:id="rId1"/>
    <p:sldMasterId id="2147483666" r:id="rId2"/>
  </p:sldMasterIdLst>
  <p:notesMasterIdLst>
    <p:notesMasterId r:id="rId26"/>
  </p:notesMasterIdLst>
  <p:sldIdLst>
    <p:sldId id="256" r:id="rId3"/>
    <p:sldId id="257" r:id="rId4"/>
    <p:sldId id="1593" r:id="rId5"/>
    <p:sldId id="258" r:id="rId6"/>
    <p:sldId id="1556" r:id="rId7"/>
    <p:sldId id="931" r:id="rId8"/>
    <p:sldId id="1595" r:id="rId9"/>
    <p:sldId id="1596" r:id="rId10"/>
    <p:sldId id="1597" r:id="rId11"/>
    <p:sldId id="1598" r:id="rId12"/>
    <p:sldId id="1600" r:id="rId13"/>
    <p:sldId id="1601" r:id="rId14"/>
    <p:sldId id="956" r:id="rId15"/>
    <p:sldId id="1602" r:id="rId16"/>
    <p:sldId id="1603" r:id="rId17"/>
    <p:sldId id="1604" r:id="rId18"/>
    <p:sldId id="1605" r:id="rId19"/>
    <p:sldId id="1606" r:id="rId20"/>
    <p:sldId id="1607" r:id="rId21"/>
    <p:sldId id="1608" r:id="rId22"/>
    <p:sldId id="1609" r:id="rId23"/>
    <p:sldId id="1610" r:id="rId24"/>
    <p:sldId id="1611" r:id="rId25"/>
  </p:sldIdLst>
  <p:sldSz cx="18288000" cy="10287000"/>
  <p:notesSz cx="6858000" cy="9144000"/>
  <p:embeddedFontLst>
    <p:embeddedFont>
      <p:font typeface="Old Standard TT" panose="020B0604020202020204" charset="0"/>
      <p:regular r:id="rId27"/>
      <p:bold r:id="rId28"/>
      <p:italic r:id="rId29"/>
    </p:embeddedFont>
    <p:embeddedFont>
      <p:font typeface="Open Sans" panose="020B0606030504020204" pitchFamily="34" charset="0"/>
      <p:regular r:id="rId30"/>
      <p:bold r:id="rId31"/>
      <p:italic r:id="rId32"/>
      <p:boldItalic r:id="rId33"/>
    </p:embeddedFont>
    <p:embeddedFont>
      <p:font typeface="Roboto" panose="02000000000000000000" pitchFamily="2" charset="0"/>
      <p:regular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chamad Aditya" initials="MA" lastIdx="1" clrIdx="0">
    <p:extLst>
      <p:ext uri="{19B8F6BF-5375-455C-9EA6-DF929625EA0E}">
        <p15:presenceInfo xmlns:p15="http://schemas.microsoft.com/office/powerpoint/2012/main" userId="5acef9f39b12c94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4" d="100"/>
          <a:sy n="54" d="100"/>
        </p:scale>
        <p:origin x="75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font" Target="fonts/font8.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67" name="Google Shape;16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5" name="Google Shape;185;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 name="Google Shape;198;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
        <p:cNvGrpSpPr/>
        <p:nvPr/>
      </p:nvGrpSpPr>
      <p:grpSpPr>
        <a:xfrm>
          <a:off x="0" y="0"/>
          <a:ext cx="0" cy="0"/>
          <a:chOff x="0" y="0"/>
          <a:chExt cx="0" cy="0"/>
        </a:xfrm>
      </p:grpSpPr>
      <p:sp>
        <p:nvSpPr>
          <p:cNvPr id="9" name="Google Shape;9;p2"/>
          <p:cNvSpPr txBox="1">
            <a:spLocks noGrp="1"/>
          </p:cNvSpPr>
          <p:nvPr>
            <p:ph type="dt" idx="10"/>
          </p:nvPr>
        </p:nvSpPr>
        <p:spPr>
          <a:xfrm>
            <a:off x="457200" y="6356350"/>
            <a:ext cx="2133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0" name="Google Shape;10;p2"/>
          <p:cNvSpPr txBox="1">
            <a:spLocks noGrp="1"/>
          </p:cNvSpPr>
          <p:nvPr>
            <p:ph type="ftr" idx="11"/>
          </p:nvPr>
        </p:nvSpPr>
        <p:spPr>
          <a:xfrm>
            <a:off x="3124200" y="6356350"/>
            <a:ext cx="28956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1" name="Google Shape;11;p2"/>
          <p:cNvSpPr txBox="1">
            <a:spLocks noGrp="1"/>
          </p:cNvSpPr>
          <p:nvPr>
            <p:ph type="sldNum" idx="12"/>
          </p:nvPr>
        </p:nvSpPr>
        <p:spPr>
          <a:xfrm>
            <a:off x="6553200" y="6356350"/>
            <a:ext cx="21336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18"/>
        <p:cNvGrpSpPr/>
        <p:nvPr/>
      </p:nvGrpSpPr>
      <p:grpSpPr>
        <a:xfrm>
          <a:off x="0" y="0"/>
          <a:ext cx="0" cy="0"/>
          <a:chOff x="0" y="0"/>
          <a:chExt cx="0" cy="0"/>
        </a:xfrm>
      </p:grpSpPr>
      <p:sp>
        <p:nvSpPr>
          <p:cNvPr id="119" name="Google Shape;119;p12"/>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20" name="Google Shape;120;p12"/>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121" name="Google Shape;121;p12"/>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122" name="Google Shape;122;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3" name="Google Shape;123;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4" name="Google Shape;124;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5"/>
        <p:cNvGrpSpPr/>
        <p:nvPr/>
      </p:nvGrpSpPr>
      <p:grpSpPr>
        <a:xfrm>
          <a:off x="0" y="0"/>
          <a:ext cx="0" cy="0"/>
          <a:chOff x="0" y="0"/>
          <a:chExt cx="0" cy="0"/>
        </a:xfrm>
      </p:grpSpPr>
      <p:sp>
        <p:nvSpPr>
          <p:cNvPr id="126" name="Google Shape;126;p13"/>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27" name="Google Shape;127;p13"/>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28" name="Google Shape;128;p13"/>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129" name="Google Shape;129;p13"/>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30" name="Google Shape;130;p13"/>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131" name="Google Shape;131;p1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1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 name="Google Shape;133;p1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34"/>
        <p:cNvGrpSpPr/>
        <p:nvPr/>
      </p:nvGrpSpPr>
      <p:grpSpPr>
        <a:xfrm>
          <a:off x="0" y="0"/>
          <a:ext cx="0" cy="0"/>
          <a:chOff x="0" y="0"/>
          <a:chExt cx="0" cy="0"/>
        </a:xfrm>
      </p:grpSpPr>
      <p:sp>
        <p:nvSpPr>
          <p:cNvPr id="135" name="Google Shape;135;p14"/>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36" name="Google Shape;136;p1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1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 name="Google Shape;138;p1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9"/>
        <p:cNvGrpSpPr/>
        <p:nvPr/>
      </p:nvGrpSpPr>
      <p:grpSpPr>
        <a:xfrm>
          <a:off x="0" y="0"/>
          <a:ext cx="0" cy="0"/>
          <a:chOff x="0" y="0"/>
          <a:chExt cx="0" cy="0"/>
        </a:xfrm>
      </p:grpSpPr>
      <p:sp>
        <p:nvSpPr>
          <p:cNvPr id="140" name="Google Shape;140;p15"/>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41" name="Google Shape;141;p15"/>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142" name="Google Shape;142;p15"/>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143" name="Google Shape;143;p1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1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 name="Google Shape;145;p1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6"/>
        <p:cNvGrpSpPr/>
        <p:nvPr/>
      </p:nvGrpSpPr>
      <p:grpSpPr>
        <a:xfrm>
          <a:off x="0" y="0"/>
          <a:ext cx="0" cy="0"/>
          <a:chOff x="0" y="0"/>
          <a:chExt cx="0" cy="0"/>
        </a:xfrm>
      </p:grpSpPr>
      <p:sp>
        <p:nvSpPr>
          <p:cNvPr id="147" name="Google Shape;147;p16"/>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48" name="Google Shape;148;p16"/>
          <p:cNvSpPr>
            <a:spLocks noGrp="1"/>
          </p:cNvSpPr>
          <p:nvPr>
            <p:ph type="pic" idx="2"/>
          </p:nvPr>
        </p:nvSpPr>
        <p:spPr>
          <a:xfrm>
            <a:off x="1792288" y="612775"/>
            <a:ext cx="5486400" cy="4114800"/>
          </a:xfrm>
          <a:prstGeom prst="rect">
            <a:avLst/>
          </a:prstGeom>
          <a:noFill/>
          <a:ln>
            <a:noFill/>
          </a:ln>
        </p:spPr>
      </p:sp>
      <p:sp>
        <p:nvSpPr>
          <p:cNvPr id="149" name="Google Shape;149;p16"/>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150" name="Google Shape;150;p1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1" name="Google Shape;151;p1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 name="Google Shape;152;p1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53"/>
        <p:cNvGrpSpPr/>
        <p:nvPr/>
      </p:nvGrpSpPr>
      <p:grpSpPr>
        <a:xfrm>
          <a:off x="0" y="0"/>
          <a:ext cx="0" cy="0"/>
          <a:chOff x="0" y="0"/>
          <a:chExt cx="0" cy="0"/>
        </a:xfrm>
      </p:grpSpPr>
      <p:sp>
        <p:nvSpPr>
          <p:cNvPr id="154" name="Google Shape;154;p1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55" name="Google Shape;155;p17"/>
          <p:cNvSpPr txBox="1">
            <a:spLocks noGrp="1"/>
          </p:cNvSpPr>
          <p:nvPr>
            <p:ph type="body" idx="1"/>
          </p:nvPr>
        </p:nvSpPr>
        <p:spPr>
          <a:xfrm rot="5400000">
            <a:off x="2309019" y="-251618"/>
            <a:ext cx="4525963" cy="82296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6" name="Google Shape;156;p1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p1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p1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9"/>
        <p:cNvGrpSpPr/>
        <p:nvPr/>
      </p:nvGrpSpPr>
      <p:grpSpPr>
        <a:xfrm>
          <a:off x="0" y="0"/>
          <a:ext cx="0" cy="0"/>
          <a:chOff x="0" y="0"/>
          <a:chExt cx="0" cy="0"/>
        </a:xfrm>
      </p:grpSpPr>
      <p:sp>
        <p:nvSpPr>
          <p:cNvPr id="160" name="Google Shape;160;p18"/>
          <p:cNvSpPr txBox="1">
            <a:spLocks noGrp="1"/>
          </p:cNvSpPr>
          <p:nvPr>
            <p:ph type="title"/>
          </p:nvPr>
        </p:nvSpPr>
        <p:spPr>
          <a:xfrm rot="5400000">
            <a:off x="4732338" y="2171701"/>
            <a:ext cx="5851525" cy="2057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61" name="Google Shape;161;p18"/>
          <p:cNvSpPr txBox="1">
            <a:spLocks noGrp="1"/>
          </p:cNvSpPr>
          <p:nvPr>
            <p:ph type="body" idx="1"/>
          </p:nvPr>
        </p:nvSpPr>
        <p:spPr>
          <a:xfrm rot="5400000">
            <a:off x="541338" y="190500"/>
            <a:ext cx="5851525" cy="6019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2" name="Google Shape;162;p1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1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4" name="Google Shape;164;p1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7591426"/>
            <a:ext cx="18288000" cy="2700338"/>
          </a:xfrm>
          <a:prstGeom prst="rect">
            <a:avLst/>
          </a:prstGeom>
          <a:solidFill>
            <a:srgbClr val="177B57"/>
          </a:solidFill>
          <a:ln w="9525" algn="ctr">
            <a:noFill/>
            <a:miter lim="800000"/>
            <a:headEnd/>
            <a:tailEnd/>
          </a:ln>
          <a:effectLst/>
        </p:spPr>
        <p:txBody>
          <a:bodyPr wrap="none" anchor="ctr"/>
          <a:lstStyle/>
          <a:p>
            <a:endParaRPr lang="en-US" sz="2100">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896815" y="1016795"/>
            <a:ext cx="2989385" cy="1009650"/>
          </a:xfrm>
          <a:prstGeom prst="rect">
            <a:avLst/>
          </a:prstGeom>
          <a:noFill/>
        </p:spPr>
      </p:pic>
      <p:sp>
        <p:nvSpPr>
          <p:cNvPr id="10" name="Text Placeholder 9"/>
          <p:cNvSpPr>
            <a:spLocks noGrp="1"/>
          </p:cNvSpPr>
          <p:nvPr>
            <p:ph type="body" sz="quarter" idx="10" hasCustomPrompt="1"/>
          </p:nvPr>
        </p:nvSpPr>
        <p:spPr>
          <a:xfrm>
            <a:off x="14362339" y="1038373"/>
            <a:ext cx="3083815" cy="995990"/>
          </a:xfrm>
          <a:prstGeom prst="rect">
            <a:avLst/>
          </a:prstGeom>
        </p:spPr>
        <p:txBody>
          <a:bodyPr lIns="90000" tIns="90000" rIns="90000" bIns="90000" anchor="ctr"/>
          <a:lstStyle>
            <a:lvl1pPr algn="ctr">
              <a:defRPr sz="21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5216031" y="8732104"/>
            <a:ext cx="7831015" cy="388145"/>
          </a:xfrm>
          <a:prstGeom prst="rect">
            <a:avLst/>
          </a:prstGeom>
          <a:noFill/>
          <a:ln w="9525">
            <a:noFill/>
            <a:miter lim="800000"/>
            <a:headEnd/>
            <a:tailEnd/>
          </a:ln>
          <a:effectLst/>
        </p:spPr>
      </p:pic>
    </p:spTree>
    <p:extLst>
      <p:ext uri="{BB962C8B-B14F-4D97-AF65-F5344CB8AC3E}">
        <p14:creationId xmlns:p14="http://schemas.microsoft.com/office/powerpoint/2010/main" val="853621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44060" y="2263140"/>
            <a:ext cx="16611131" cy="6885432"/>
          </a:xfrm>
        </p:spPr>
        <p:txBody>
          <a:bodyPr lIns="0" tIns="0" rIns="0" bIns="0"/>
          <a:lstStyle>
            <a:lvl1pPr>
              <a:spcBef>
                <a:spcPts val="576"/>
              </a:spcBef>
              <a:defRPr/>
            </a:lvl1pPr>
            <a:lvl2pPr marL="685800" indent="-345600">
              <a:spcBef>
                <a:spcPts val="576"/>
              </a:spcBef>
              <a:defRPr/>
            </a:lvl2pPr>
            <a:lvl3pPr marL="1371600" indent="-345600">
              <a:spcBef>
                <a:spcPts val="576"/>
              </a:spcBef>
              <a:defRPr/>
            </a:lvl3pPr>
            <a:lvl4pPr marL="2062800" indent="-351000">
              <a:spcBef>
                <a:spcPts val="576"/>
              </a:spcBef>
              <a:defRPr/>
            </a:lvl4pPr>
            <a:lvl5pPr marL="3088800" indent="-345600">
              <a:spcBef>
                <a:spcPts val="57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288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844062" y="2262600"/>
            <a:ext cx="16602092" cy="6885000"/>
          </a:xfrm>
          <a:prstGeom prst="rect">
            <a:avLst/>
          </a:prstGeom>
        </p:spPr>
        <p:txBody>
          <a:bodyPr lIns="0" tIns="0" rIns="0" bIns="0"/>
          <a:lstStyle>
            <a:lvl1pPr marL="259200" indent="-259200">
              <a:spcBef>
                <a:spcPts val="576"/>
              </a:spcBef>
              <a:buClr>
                <a:schemeClr val="tx2"/>
              </a:buClr>
              <a:buFont typeface="Arial" pitchFamily="34" charset="0"/>
              <a:buChar char="•"/>
              <a:tabLst/>
              <a:defRPr b="0"/>
            </a:lvl1pPr>
            <a:lvl2pPr marL="945000" indent="-345600">
              <a:spcBef>
                <a:spcPts val="576"/>
              </a:spcBef>
              <a:buFont typeface="Arial" pitchFamily="34" charset="0"/>
              <a:buChar char="–"/>
              <a:defRPr/>
            </a:lvl2pPr>
            <a:lvl3pPr marL="1614600" indent="-345600">
              <a:spcBef>
                <a:spcPts val="576"/>
              </a:spcBef>
              <a:defRPr/>
            </a:lvl3pPr>
            <a:lvl4pPr marL="2316600" indent="-345600">
              <a:spcBef>
                <a:spcPts val="576"/>
              </a:spcBef>
              <a:defRPr/>
            </a:lvl4pPr>
            <a:lvl5pPr marL="3088800" indent="-345600">
              <a:spcBef>
                <a:spcPts val="57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0079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ustom Layout 5">
  <p:cSld name="CUSTOM_4">
    <p:spTree>
      <p:nvGrpSpPr>
        <p:cNvPr id="1" name="Shape 42"/>
        <p:cNvGrpSpPr/>
        <p:nvPr/>
      </p:nvGrpSpPr>
      <p:grpSpPr>
        <a:xfrm>
          <a:off x="0" y="0"/>
          <a:ext cx="0" cy="0"/>
          <a:chOff x="0" y="0"/>
          <a:chExt cx="0" cy="0"/>
        </a:xfrm>
      </p:grpSpPr>
      <p:grpSp>
        <p:nvGrpSpPr>
          <p:cNvPr id="43" name="Google Shape;43;p4"/>
          <p:cNvGrpSpPr/>
          <p:nvPr/>
        </p:nvGrpSpPr>
        <p:grpSpPr>
          <a:xfrm>
            <a:off x="317543" y="333913"/>
            <a:ext cx="17653307" cy="9647012"/>
            <a:chOff x="0" y="0"/>
            <a:chExt cx="4649400" cy="2540760"/>
          </a:xfrm>
        </p:grpSpPr>
        <p:sp>
          <p:nvSpPr>
            <p:cNvPr id="44" name="Google Shape;44;p4"/>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45" name="Google Shape;45;p4"/>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46" name="Google Shape;46;p4"/>
          <p:cNvCxnSpPr/>
          <p:nvPr/>
        </p:nvCxnSpPr>
        <p:spPr>
          <a:xfrm>
            <a:off x="9144267" y="2766060"/>
            <a:ext cx="0" cy="6492300"/>
          </a:xfrm>
          <a:prstGeom prst="straightConnector1">
            <a:avLst/>
          </a:prstGeom>
          <a:noFill/>
          <a:ln w="28575" cap="flat" cmpd="sng">
            <a:solidFill>
              <a:srgbClr val="000000"/>
            </a:solidFill>
            <a:prstDash val="solid"/>
            <a:round/>
            <a:headEnd type="none" w="sm" len="sm"/>
            <a:tailEnd type="none" w="sm" len="sm"/>
          </a:ln>
        </p:spPr>
      </p:cxnSp>
      <p:sp>
        <p:nvSpPr>
          <p:cNvPr id="47" name="Google Shape;47;p4"/>
          <p:cNvSpPr txBox="1">
            <a:spLocks noGrp="1"/>
          </p:cNvSpPr>
          <p:nvPr>
            <p:ph type="subTitle" idx="1"/>
          </p:nvPr>
        </p:nvSpPr>
        <p:spPr>
          <a:xfrm>
            <a:off x="2939150" y="9206775"/>
            <a:ext cx="3492600" cy="534300"/>
          </a:xfrm>
          <a:prstGeom prst="rect">
            <a:avLst/>
          </a:prstGeom>
        </p:spPr>
        <p:txBody>
          <a:bodyPr spcFirstLastPara="1" wrap="square" lIns="0" tIns="0" rIns="0" bIns="0" anchor="t" anchorCtr="0">
            <a:noAutofit/>
          </a:bodyPr>
          <a:lstStyle>
            <a:lvl1pPr lvl="0" algn="ctr">
              <a:spcBef>
                <a:spcPts val="640"/>
              </a:spcBef>
              <a:spcAft>
                <a:spcPts val="0"/>
              </a:spcAft>
              <a:buClr>
                <a:srgbClr val="0B6AE9"/>
              </a:buClr>
              <a:buSzPts val="3000"/>
              <a:buNone/>
              <a:defRPr>
                <a:solidFill>
                  <a:srgbClr val="0B6AE9"/>
                </a:solidFill>
              </a:defRPr>
            </a:lvl1pPr>
            <a:lvl2pPr lvl="1" algn="ctr">
              <a:spcBef>
                <a:spcPts val="560"/>
              </a:spcBef>
              <a:spcAft>
                <a:spcPts val="0"/>
              </a:spcAft>
              <a:buClr>
                <a:srgbClr val="0B6AE9"/>
              </a:buClr>
              <a:buSzPts val="2100"/>
              <a:buNone/>
              <a:defRPr>
                <a:solidFill>
                  <a:srgbClr val="0B6AE9"/>
                </a:solidFill>
              </a:defRPr>
            </a:lvl2pPr>
            <a:lvl3pPr lvl="2" algn="ctr">
              <a:spcBef>
                <a:spcPts val="480"/>
              </a:spcBef>
              <a:spcAft>
                <a:spcPts val="0"/>
              </a:spcAft>
              <a:buClr>
                <a:srgbClr val="0B6AE9"/>
              </a:buClr>
              <a:buSzPts val="2100"/>
              <a:buNone/>
              <a:defRPr>
                <a:solidFill>
                  <a:srgbClr val="0B6AE9"/>
                </a:solidFill>
              </a:defRPr>
            </a:lvl3pPr>
            <a:lvl4pPr lvl="3" algn="ctr">
              <a:spcBef>
                <a:spcPts val="400"/>
              </a:spcBef>
              <a:spcAft>
                <a:spcPts val="0"/>
              </a:spcAft>
              <a:buClr>
                <a:srgbClr val="0B6AE9"/>
              </a:buClr>
              <a:buSzPts val="2100"/>
              <a:buNone/>
              <a:defRPr>
                <a:solidFill>
                  <a:srgbClr val="0B6AE9"/>
                </a:solidFill>
              </a:defRPr>
            </a:lvl4pPr>
            <a:lvl5pPr lvl="4" algn="ctr">
              <a:spcBef>
                <a:spcPts val="400"/>
              </a:spcBef>
              <a:spcAft>
                <a:spcPts val="0"/>
              </a:spcAft>
              <a:buClr>
                <a:srgbClr val="0B6AE9"/>
              </a:buClr>
              <a:buSzPts val="2100"/>
              <a:buNone/>
              <a:defRPr>
                <a:solidFill>
                  <a:srgbClr val="0B6AE9"/>
                </a:solidFill>
              </a:defRPr>
            </a:lvl5pPr>
            <a:lvl6pPr lvl="5" algn="ctr">
              <a:spcBef>
                <a:spcPts val="400"/>
              </a:spcBef>
              <a:spcAft>
                <a:spcPts val="0"/>
              </a:spcAft>
              <a:buClr>
                <a:srgbClr val="0B6AE9"/>
              </a:buClr>
              <a:buSzPts val="2100"/>
              <a:buNone/>
              <a:defRPr>
                <a:solidFill>
                  <a:srgbClr val="0B6AE9"/>
                </a:solidFill>
              </a:defRPr>
            </a:lvl6pPr>
            <a:lvl7pPr lvl="6" algn="ctr">
              <a:spcBef>
                <a:spcPts val="400"/>
              </a:spcBef>
              <a:spcAft>
                <a:spcPts val="0"/>
              </a:spcAft>
              <a:buClr>
                <a:srgbClr val="0B6AE9"/>
              </a:buClr>
              <a:buSzPts val="2100"/>
              <a:buNone/>
              <a:defRPr>
                <a:solidFill>
                  <a:srgbClr val="0B6AE9"/>
                </a:solidFill>
              </a:defRPr>
            </a:lvl7pPr>
            <a:lvl8pPr lvl="7" algn="ctr">
              <a:spcBef>
                <a:spcPts val="400"/>
              </a:spcBef>
              <a:spcAft>
                <a:spcPts val="0"/>
              </a:spcAft>
              <a:buClr>
                <a:srgbClr val="0B6AE9"/>
              </a:buClr>
              <a:buSzPts val="2100"/>
              <a:buNone/>
              <a:defRPr>
                <a:solidFill>
                  <a:srgbClr val="0B6AE9"/>
                </a:solidFill>
              </a:defRPr>
            </a:lvl8pPr>
            <a:lvl9pPr lvl="8" algn="ctr">
              <a:spcBef>
                <a:spcPts val="400"/>
              </a:spcBef>
              <a:spcAft>
                <a:spcPts val="0"/>
              </a:spcAft>
              <a:buClr>
                <a:srgbClr val="0B6AE9"/>
              </a:buClr>
              <a:buSzPts val="2100"/>
              <a:buNone/>
              <a:defRPr>
                <a:solidFill>
                  <a:srgbClr val="0B6AE9"/>
                </a:solidFill>
              </a:defRPr>
            </a:lvl9pPr>
          </a:lstStyle>
          <a:p>
            <a:endParaRPr/>
          </a:p>
        </p:txBody>
      </p:sp>
      <p:sp>
        <p:nvSpPr>
          <p:cNvPr id="48" name="Google Shape;48;p4"/>
          <p:cNvSpPr txBox="1">
            <a:spLocks noGrp="1"/>
          </p:cNvSpPr>
          <p:nvPr>
            <p:ph type="subTitle" idx="2"/>
          </p:nvPr>
        </p:nvSpPr>
        <p:spPr>
          <a:xfrm>
            <a:off x="11878275" y="9206775"/>
            <a:ext cx="3492600" cy="534300"/>
          </a:xfrm>
          <a:prstGeom prst="rect">
            <a:avLst/>
          </a:prstGeom>
        </p:spPr>
        <p:txBody>
          <a:bodyPr spcFirstLastPara="1" wrap="square" lIns="0" tIns="0" rIns="0" bIns="0" anchor="t" anchorCtr="0">
            <a:noAutofit/>
          </a:bodyPr>
          <a:lstStyle>
            <a:lvl1pPr lvl="0" algn="ctr" rtl="0">
              <a:spcBef>
                <a:spcPts val="640"/>
              </a:spcBef>
              <a:spcAft>
                <a:spcPts val="0"/>
              </a:spcAft>
              <a:buClr>
                <a:srgbClr val="0B6AE9"/>
              </a:buClr>
              <a:buSzPts val="3000"/>
              <a:buNone/>
              <a:defRPr>
                <a:solidFill>
                  <a:srgbClr val="0B6AE9"/>
                </a:solidFill>
              </a:defRPr>
            </a:lvl1pPr>
            <a:lvl2pPr lvl="1" algn="ctr" rtl="0">
              <a:spcBef>
                <a:spcPts val="560"/>
              </a:spcBef>
              <a:spcAft>
                <a:spcPts val="0"/>
              </a:spcAft>
              <a:buClr>
                <a:srgbClr val="0B6AE9"/>
              </a:buClr>
              <a:buSzPts val="2100"/>
              <a:buNone/>
              <a:defRPr>
                <a:solidFill>
                  <a:srgbClr val="0B6AE9"/>
                </a:solidFill>
              </a:defRPr>
            </a:lvl2pPr>
            <a:lvl3pPr lvl="2" algn="ctr" rtl="0">
              <a:spcBef>
                <a:spcPts val="480"/>
              </a:spcBef>
              <a:spcAft>
                <a:spcPts val="0"/>
              </a:spcAft>
              <a:buClr>
                <a:srgbClr val="0B6AE9"/>
              </a:buClr>
              <a:buSzPts val="2100"/>
              <a:buNone/>
              <a:defRPr>
                <a:solidFill>
                  <a:srgbClr val="0B6AE9"/>
                </a:solidFill>
              </a:defRPr>
            </a:lvl3pPr>
            <a:lvl4pPr lvl="3" algn="ctr" rtl="0">
              <a:spcBef>
                <a:spcPts val="400"/>
              </a:spcBef>
              <a:spcAft>
                <a:spcPts val="0"/>
              </a:spcAft>
              <a:buClr>
                <a:srgbClr val="0B6AE9"/>
              </a:buClr>
              <a:buSzPts val="2100"/>
              <a:buNone/>
              <a:defRPr>
                <a:solidFill>
                  <a:srgbClr val="0B6AE9"/>
                </a:solidFill>
              </a:defRPr>
            </a:lvl4pPr>
            <a:lvl5pPr lvl="4" algn="ctr" rtl="0">
              <a:spcBef>
                <a:spcPts val="400"/>
              </a:spcBef>
              <a:spcAft>
                <a:spcPts val="0"/>
              </a:spcAft>
              <a:buClr>
                <a:srgbClr val="0B6AE9"/>
              </a:buClr>
              <a:buSzPts val="2100"/>
              <a:buNone/>
              <a:defRPr>
                <a:solidFill>
                  <a:srgbClr val="0B6AE9"/>
                </a:solidFill>
              </a:defRPr>
            </a:lvl5pPr>
            <a:lvl6pPr lvl="5" algn="ctr" rtl="0">
              <a:spcBef>
                <a:spcPts val="400"/>
              </a:spcBef>
              <a:spcAft>
                <a:spcPts val="0"/>
              </a:spcAft>
              <a:buClr>
                <a:srgbClr val="0B6AE9"/>
              </a:buClr>
              <a:buSzPts val="2100"/>
              <a:buNone/>
              <a:defRPr>
                <a:solidFill>
                  <a:srgbClr val="0B6AE9"/>
                </a:solidFill>
              </a:defRPr>
            </a:lvl6pPr>
            <a:lvl7pPr lvl="6" algn="ctr" rtl="0">
              <a:spcBef>
                <a:spcPts val="400"/>
              </a:spcBef>
              <a:spcAft>
                <a:spcPts val="0"/>
              </a:spcAft>
              <a:buClr>
                <a:srgbClr val="0B6AE9"/>
              </a:buClr>
              <a:buSzPts val="2100"/>
              <a:buNone/>
              <a:defRPr>
                <a:solidFill>
                  <a:srgbClr val="0B6AE9"/>
                </a:solidFill>
              </a:defRPr>
            </a:lvl7pPr>
            <a:lvl8pPr lvl="7" algn="ctr" rtl="0">
              <a:spcBef>
                <a:spcPts val="400"/>
              </a:spcBef>
              <a:spcAft>
                <a:spcPts val="0"/>
              </a:spcAft>
              <a:buClr>
                <a:srgbClr val="0B6AE9"/>
              </a:buClr>
              <a:buSzPts val="2100"/>
              <a:buNone/>
              <a:defRPr>
                <a:solidFill>
                  <a:srgbClr val="0B6AE9"/>
                </a:solidFill>
              </a:defRPr>
            </a:lvl8pPr>
            <a:lvl9pPr lvl="8" algn="ctr" rtl="0">
              <a:spcBef>
                <a:spcPts val="400"/>
              </a:spcBef>
              <a:spcAft>
                <a:spcPts val="0"/>
              </a:spcAft>
              <a:buClr>
                <a:srgbClr val="0B6AE9"/>
              </a:buClr>
              <a:buSzPts val="2100"/>
              <a:buNone/>
              <a:defRPr>
                <a:solidFill>
                  <a:srgbClr val="0B6AE9"/>
                </a:solidFill>
              </a:defRPr>
            </a:lvl9pPr>
          </a:lstStyle>
          <a:p>
            <a:endParaRPr/>
          </a:p>
        </p:txBody>
      </p:sp>
      <p:sp>
        <p:nvSpPr>
          <p:cNvPr id="49" name="Google Shape;49;p4"/>
          <p:cNvSpPr txBox="1">
            <a:spLocks noGrp="1"/>
          </p:cNvSpPr>
          <p:nvPr>
            <p:ph type="title"/>
          </p:nvPr>
        </p:nvSpPr>
        <p:spPr>
          <a:xfrm>
            <a:off x="1087875" y="656525"/>
            <a:ext cx="6985200" cy="1145100"/>
          </a:xfrm>
          <a:prstGeom prst="rect">
            <a:avLst/>
          </a:prstGeom>
        </p:spPr>
        <p:txBody>
          <a:bodyPr spcFirstLastPara="1" wrap="square" lIns="0" tIns="0" rIns="0" bIns="0" anchor="t" anchorCtr="0">
            <a:noAutofit/>
          </a:bodyPr>
          <a:lstStyle>
            <a:lvl1pPr lvl="0" rtl="0">
              <a:spcBef>
                <a:spcPts val="0"/>
              </a:spcBef>
              <a:spcAft>
                <a:spcPts val="0"/>
              </a:spcAft>
              <a:buSzPts val="6500"/>
              <a:buNone/>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50" name="Google Shape;50;p4"/>
          <p:cNvSpPr txBox="1">
            <a:spLocks noGrp="1"/>
          </p:cNvSpPr>
          <p:nvPr>
            <p:ph type="body" idx="3"/>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rtl="0">
              <a:spcBef>
                <a:spcPts val="640"/>
              </a:spcBef>
              <a:spcAft>
                <a:spcPts val="0"/>
              </a:spcAft>
              <a:buSzPts val="2100"/>
              <a:buChar char="•"/>
              <a:defRPr sz="2100"/>
            </a:lvl1pPr>
            <a:lvl2pPr marL="914400" lvl="1" indent="-361950" algn="r" rtl="0">
              <a:spcBef>
                <a:spcPts val="560"/>
              </a:spcBef>
              <a:spcAft>
                <a:spcPts val="0"/>
              </a:spcAft>
              <a:buSzPts val="2100"/>
              <a:buChar char="–"/>
              <a:defRPr/>
            </a:lvl2pPr>
            <a:lvl3pPr marL="1371600" lvl="2" indent="-361950" algn="r" rtl="0">
              <a:spcBef>
                <a:spcPts val="480"/>
              </a:spcBef>
              <a:spcAft>
                <a:spcPts val="0"/>
              </a:spcAft>
              <a:buSzPts val="2100"/>
              <a:buChar char="•"/>
              <a:defRPr/>
            </a:lvl3pPr>
            <a:lvl4pPr marL="1828800" lvl="3" indent="-361950" algn="r" rtl="0">
              <a:spcBef>
                <a:spcPts val="400"/>
              </a:spcBef>
              <a:spcAft>
                <a:spcPts val="0"/>
              </a:spcAft>
              <a:buSzPts val="2100"/>
              <a:buChar char="–"/>
              <a:defRPr/>
            </a:lvl4pPr>
            <a:lvl5pPr marL="2286000" lvl="4" indent="-361950" algn="r" rtl="0">
              <a:spcBef>
                <a:spcPts val="400"/>
              </a:spcBef>
              <a:spcAft>
                <a:spcPts val="0"/>
              </a:spcAft>
              <a:buSzPts val="2100"/>
              <a:buChar char="»"/>
              <a:defRPr/>
            </a:lvl5pPr>
            <a:lvl6pPr marL="2743200" lvl="5" indent="-361950" algn="r" rtl="0">
              <a:spcBef>
                <a:spcPts val="400"/>
              </a:spcBef>
              <a:spcAft>
                <a:spcPts val="0"/>
              </a:spcAft>
              <a:buSzPts val="2100"/>
              <a:buChar char="•"/>
              <a:defRPr/>
            </a:lvl6pPr>
            <a:lvl7pPr marL="3200400" lvl="6" indent="-361950" algn="r" rtl="0">
              <a:spcBef>
                <a:spcPts val="400"/>
              </a:spcBef>
              <a:spcAft>
                <a:spcPts val="0"/>
              </a:spcAft>
              <a:buSzPts val="2100"/>
              <a:buChar char="•"/>
              <a:defRPr/>
            </a:lvl7pPr>
            <a:lvl8pPr marL="3657600" lvl="7" indent="-361950" algn="r" rtl="0">
              <a:spcBef>
                <a:spcPts val="400"/>
              </a:spcBef>
              <a:spcAft>
                <a:spcPts val="0"/>
              </a:spcAft>
              <a:buSzPts val="2100"/>
              <a:buChar char="•"/>
              <a:defRPr/>
            </a:lvl8pPr>
            <a:lvl9pPr marL="4114800" lvl="8" indent="-361950" algn="r" rtl="0">
              <a:spcBef>
                <a:spcPts val="400"/>
              </a:spcBef>
              <a:spcAft>
                <a:spcPts val="0"/>
              </a:spcAft>
              <a:buSzPts val="21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395314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018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931" y="2383"/>
          <a:ext cx="2930" cy="2381"/>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1" y="2383"/>
                        <a:ext cx="2930" cy="23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18288000" cy="10287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US" sz="2100" dirty="0">
              <a:solidFill>
                <a:srgbClr val="000000"/>
              </a:solidFill>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3774831" y="2607470"/>
            <a:ext cx="10738338" cy="4421981"/>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7910762" y="4436543"/>
            <a:ext cx="5171538" cy="1299375"/>
          </a:xfrm>
          <a:prstGeom prst="rect">
            <a:avLst/>
          </a:prstGeom>
          <a:noFill/>
          <a:ln>
            <a:noFill/>
          </a:ln>
        </p:spPr>
      </p:pic>
      <p:sp>
        <p:nvSpPr>
          <p:cNvPr id="5" name="TextBox 4"/>
          <p:cNvSpPr txBox="1"/>
          <p:nvPr userDrawn="1"/>
        </p:nvSpPr>
        <p:spPr>
          <a:xfrm>
            <a:off x="7881476" y="7617960"/>
            <a:ext cx="2525050" cy="872801"/>
          </a:xfrm>
          <a:prstGeom prst="rect">
            <a:avLst/>
          </a:prstGeom>
          <a:noFill/>
          <a:ln>
            <a:noFill/>
          </a:ln>
        </p:spPr>
        <p:txBody>
          <a:bodyPr wrap="none" tIns="135000" bIns="135000" rtlCol="0" anchor="t">
            <a:spAutoFit/>
          </a:bodyPr>
          <a:lstStyle/>
          <a:p>
            <a:pPr algn="ctr"/>
            <a:r>
              <a:rPr lang="en-US" sz="3900">
                <a:solidFill>
                  <a:srgbClr val="FFFFFF"/>
                </a:solidFill>
                <a:cs typeface="Arial" pitchFamily="34" charset="0"/>
              </a:rPr>
              <a:t>Thank you</a:t>
            </a:r>
            <a:endParaRPr lang="en-US" sz="3900" dirty="0">
              <a:solidFill>
                <a:srgbClr val="FFFFFF"/>
              </a:solidFill>
              <a:cs typeface="Arial" pitchFamily="34" charset="0"/>
            </a:endParaRPr>
          </a:p>
        </p:txBody>
      </p:sp>
      <p:sp>
        <p:nvSpPr>
          <p:cNvPr id="6" name="TextBox 5"/>
          <p:cNvSpPr txBox="1"/>
          <p:nvPr userDrawn="1"/>
        </p:nvSpPr>
        <p:spPr>
          <a:xfrm>
            <a:off x="7726527" y="9093773"/>
            <a:ext cx="2877711" cy="503469"/>
          </a:xfrm>
          <a:prstGeom prst="rect">
            <a:avLst/>
          </a:prstGeom>
          <a:noFill/>
          <a:ln>
            <a:noFill/>
          </a:ln>
        </p:spPr>
        <p:txBody>
          <a:bodyPr wrap="none" tIns="135000" bIns="135000" rtlCol="0" anchor="t">
            <a:spAutoFit/>
          </a:bodyPr>
          <a:lstStyle/>
          <a:p>
            <a:pPr algn="ctr"/>
            <a:r>
              <a:rPr lang="en-US" sz="1500">
                <a:solidFill>
                  <a:srgbClr val="FFFFFF"/>
                </a:solidFill>
                <a:cs typeface="Arial" pitchFamily="34" charset="0"/>
              </a:rPr>
              <a:t>bcg.com | bcgperspectives.com</a:t>
            </a:r>
            <a:endParaRPr lang="en-US" sz="1500" dirty="0">
              <a:solidFill>
                <a:srgbClr val="FFFFFF"/>
              </a:solidFill>
              <a:cs typeface="Arial" pitchFamily="34" charset="0"/>
            </a:endParaRPr>
          </a:p>
        </p:txBody>
      </p:sp>
    </p:spTree>
    <p:extLst>
      <p:ext uri="{BB962C8B-B14F-4D97-AF65-F5344CB8AC3E}">
        <p14:creationId xmlns:p14="http://schemas.microsoft.com/office/powerpoint/2010/main" val="1875772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ustom Layout 4">
  <p:cSld name="CUSTOM_3">
    <p:spTree>
      <p:nvGrpSpPr>
        <p:cNvPr id="1" name="Shape 51"/>
        <p:cNvGrpSpPr/>
        <p:nvPr/>
      </p:nvGrpSpPr>
      <p:grpSpPr>
        <a:xfrm>
          <a:off x="0" y="0"/>
          <a:ext cx="0" cy="0"/>
          <a:chOff x="0" y="0"/>
          <a:chExt cx="0" cy="0"/>
        </a:xfrm>
      </p:grpSpPr>
      <p:grpSp>
        <p:nvGrpSpPr>
          <p:cNvPr id="52" name="Google Shape;52;p5"/>
          <p:cNvGrpSpPr/>
          <p:nvPr/>
        </p:nvGrpSpPr>
        <p:grpSpPr>
          <a:xfrm>
            <a:off x="317543" y="333913"/>
            <a:ext cx="17653307" cy="9647012"/>
            <a:chOff x="0" y="0"/>
            <a:chExt cx="4649400" cy="2540760"/>
          </a:xfrm>
        </p:grpSpPr>
        <p:sp>
          <p:nvSpPr>
            <p:cNvPr id="53" name="Google Shape;53;p5"/>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54" name="Google Shape;54;p5"/>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55" name="Google Shape;55;p5"/>
          <p:cNvCxnSpPr/>
          <p:nvPr/>
        </p:nvCxnSpPr>
        <p:spPr>
          <a:xfrm>
            <a:off x="6099614" y="3255793"/>
            <a:ext cx="0" cy="6492300"/>
          </a:xfrm>
          <a:prstGeom prst="straightConnector1">
            <a:avLst/>
          </a:prstGeom>
          <a:noFill/>
          <a:ln w="28575" cap="flat" cmpd="sng">
            <a:solidFill>
              <a:srgbClr val="000000"/>
            </a:solidFill>
            <a:prstDash val="solid"/>
            <a:round/>
            <a:headEnd type="none" w="sm" len="sm"/>
            <a:tailEnd type="none" w="sm" len="sm"/>
          </a:ln>
        </p:spPr>
      </p:cxnSp>
      <p:cxnSp>
        <p:nvCxnSpPr>
          <p:cNvPr id="56" name="Google Shape;56;p5"/>
          <p:cNvCxnSpPr/>
          <p:nvPr/>
        </p:nvCxnSpPr>
        <p:spPr>
          <a:xfrm>
            <a:off x="12176441" y="3255793"/>
            <a:ext cx="0" cy="6492300"/>
          </a:xfrm>
          <a:prstGeom prst="straightConnector1">
            <a:avLst/>
          </a:prstGeom>
          <a:noFill/>
          <a:ln w="28575" cap="flat" cmpd="sng">
            <a:solidFill>
              <a:srgbClr val="000000"/>
            </a:solidFill>
            <a:prstDash val="solid"/>
            <a:round/>
            <a:headEnd type="none" w="sm" len="sm"/>
            <a:tailEnd type="none" w="sm" len="sm"/>
          </a:ln>
        </p:spPr>
      </p:cxnSp>
      <p:sp>
        <p:nvSpPr>
          <p:cNvPr id="57" name="Google Shape;57;p5"/>
          <p:cNvSpPr txBox="1">
            <a:spLocks noGrp="1"/>
          </p:cNvSpPr>
          <p:nvPr>
            <p:ph type="title"/>
          </p:nvPr>
        </p:nvSpPr>
        <p:spPr>
          <a:xfrm>
            <a:off x="1087875" y="8164925"/>
            <a:ext cx="3454500" cy="1590900"/>
          </a:xfrm>
          <a:prstGeom prst="rect">
            <a:avLst/>
          </a:prstGeom>
        </p:spPr>
        <p:txBody>
          <a:bodyPr spcFirstLastPara="1" wrap="square" lIns="0" tIns="0" rIns="0" bIns="0" anchor="t" anchorCtr="0">
            <a:noAutofit/>
          </a:bodyPr>
          <a:lstStyle>
            <a:lvl1pPr lvl="0">
              <a:spcBef>
                <a:spcPts val="0"/>
              </a:spcBef>
              <a:spcAft>
                <a:spcPts val="0"/>
              </a:spcAft>
              <a:buSzPts val="13000"/>
              <a:buFont typeface="Open Sans"/>
              <a:buNone/>
              <a:defRPr sz="13000">
                <a:latin typeface="Open Sans"/>
                <a:ea typeface="Open Sans"/>
                <a:cs typeface="Open Sans"/>
                <a:sym typeface="Open Sans"/>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58" name="Google Shape;58;p5"/>
          <p:cNvSpPr txBox="1">
            <a:spLocks noGrp="1"/>
          </p:cNvSpPr>
          <p:nvPr>
            <p:ph type="title" idx="2"/>
          </p:nvPr>
        </p:nvSpPr>
        <p:spPr>
          <a:xfrm>
            <a:off x="6990200" y="8157075"/>
            <a:ext cx="3454500" cy="1590900"/>
          </a:xfrm>
          <a:prstGeom prst="rect">
            <a:avLst/>
          </a:prstGeom>
        </p:spPr>
        <p:txBody>
          <a:bodyPr spcFirstLastPara="1" wrap="square" lIns="0" tIns="0" rIns="0" bIns="0" anchor="t" anchorCtr="0">
            <a:noAutofit/>
          </a:bodyPr>
          <a:lstStyle>
            <a:lvl1pPr lvl="0" rtl="0">
              <a:spcBef>
                <a:spcPts val="0"/>
              </a:spcBef>
              <a:spcAft>
                <a:spcPts val="0"/>
              </a:spcAft>
              <a:buSzPts val="13000"/>
              <a:buFont typeface="Open Sans"/>
              <a:buNone/>
              <a:defRPr sz="13000">
                <a:latin typeface="Open Sans"/>
                <a:ea typeface="Open Sans"/>
                <a:cs typeface="Open Sans"/>
                <a:sym typeface="Open Sans"/>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59" name="Google Shape;59;p5"/>
          <p:cNvSpPr txBox="1">
            <a:spLocks noGrp="1"/>
          </p:cNvSpPr>
          <p:nvPr>
            <p:ph type="title" idx="3"/>
          </p:nvPr>
        </p:nvSpPr>
        <p:spPr>
          <a:xfrm>
            <a:off x="13181325" y="8157075"/>
            <a:ext cx="3454500" cy="1590900"/>
          </a:xfrm>
          <a:prstGeom prst="rect">
            <a:avLst/>
          </a:prstGeom>
        </p:spPr>
        <p:txBody>
          <a:bodyPr spcFirstLastPara="1" wrap="square" lIns="0" tIns="0" rIns="0" bIns="0" anchor="t" anchorCtr="0">
            <a:noAutofit/>
          </a:bodyPr>
          <a:lstStyle>
            <a:lvl1pPr lvl="0" rtl="0">
              <a:spcBef>
                <a:spcPts val="0"/>
              </a:spcBef>
              <a:spcAft>
                <a:spcPts val="0"/>
              </a:spcAft>
              <a:buSzPts val="13000"/>
              <a:buFont typeface="Open Sans"/>
              <a:buNone/>
              <a:defRPr sz="13000">
                <a:latin typeface="Open Sans"/>
                <a:ea typeface="Open Sans"/>
                <a:cs typeface="Open Sans"/>
                <a:sym typeface="Open Sans"/>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60" name="Google Shape;60;p5"/>
          <p:cNvSpPr txBox="1">
            <a:spLocks noGrp="1"/>
          </p:cNvSpPr>
          <p:nvPr>
            <p:ph type="body" idx="1"/>
          </p:nvPr>
        </p:nvSpPr>
        <p:spPr>
          <a:xfrm>
            <a:off x="1145125" y="3966150"/>
            <a:ext cx="4599600" cy="1145100"/>
          </a:xfrm>
          <a:prstGeom prst="rect">
            <a:avLst/>
          </a:prstGeom>
        </p:spPr>
        <p:txBody>
          <a:bodyPr spcFirstLastPara="1" wrap="square" lIns="0" tIns="0" rIns="0" bIns="0" anchor="t" anchorCtr="0">
            <a:noAutofit/>
          </a:bodyPr>
          <a:lstStyle>
            <a:lvl1pPr marL="457200" lvl="0" indent="-361950">
              <a:spcBef>
                <a:spcPts val="640"/>
              </a:spcBef>
              <a:spcAft>
                <a:spcPts val="0"/>
              </a:spcAft>
              <a:buSzPts val="2100"/>
              <a:buChar char="•"/>
              <a:defRPr sz="2100"/>
            </a:lvl1pPr>
            <a:lvl2pPr marL="914400" lvl="1" indent="-361950">
              <a:spcBef>
                <a:spcPts val="560"/>
              </a:spcBef>
              <a:spcAft>
                <a:spcPts val="0"/>
              </a:spcAft>
              <a:buSzPts val="2100"/>
              <a:buChar char="–"/>
              <a:defRPr/>
            </a:lvl2pPr>
            <a:lvl3pPr marL="1371600" lvl="2" indent="-361950">
              <a:spcBef>
                <a:spcPts val="480"/>
              </a:spcBef>
              <a:spcAft>
                <a:spcPts val="0"/>
              </a:spcAft>
              <a:buSzPts val="2100"/>
              <a:buChar char="•"/>
              <a:defRPr/>
            </a:lvl3pPr>
            <a:lvl4pPr marL="1828800" lvl="3" indent="-361950">
              <a:spcBef>
                <a:spcPts val="400"/>
              </a:spcBef>
              <a:spcAft>
                <a:spcPts val="0"/>
              </a:spcAft>
              <a:buSzPts val="2100"/>
              <a:buChar char="–"/>
              <a:defRPr/>
            </a:lvl4pPr>
            <a:lvl5pPr marL="2286000" lvl="4" indent="-361950">
              <a:spcBef>
                <a:spcPts val="400"/>
              </a:spcBef>
              <a:spcAft>
                <a:spcPts val="0"/>
              </a:spcAft>
              <a:buSzPts val="2100"/>
              <a:buChar char="»"/>
              <a:defRPr/>
            </a:lvl5pPr>
            <a:lvl6pPr marL="2743200" lvl="5" indent="-361950">
              <a:spcBef>
                <a:spcPts val="400"/>
              </a:spcBef>
              <a:spcAft>
                <a:spcPts val="0"/>
              </a:spcAft>
              <a:buSzPts val="2100"/>
              <a:buChar char="•"/>
              <a:defRPr/>
            </a:lvl6pPr>
            <a:lvl7pPr marL="3200400" lvl="6" indent="-361950">
              <a:spcBef>
                <a:spcPts val="400"/>
              </a:spcBef>
              <a:spcAft>
                <a:spcPts val="0"/>
              </a:spcAft>
              <a:buSzPts val="2100"/>
              <a:buChar char="•"/>
              <a:defRPr/>
            </a:lvl7pPr>
            <a:lvl8pPr marL="3657600" lvl="7" indent="-361950">
              <a:spcBef>
                <a:spcPts val="400"/>
              </a:spcBef>
              <a:spcAft>
                <a:spcPts val="0"/>
              </a:spcAft>
              <a:buSzPts val="2100"/>
              <a:buChar char="•"/>
              <a:defRPr/>
            </a:lvl8pPr>
            <a:lvl9pPr marL="4114800" lvl="8" indent="-361950">
              <a:spcBef>
                <a:spcPts val="400"/>
              </a:spcBef>
              <a:spcAft>
                <a:spcPts val="0"/>
              </a:spcAft>
              <a:buSzPts val="2100"/>
              <a:buChar char="•"/>
              <a:defRPr/>
            </a:lvl9pPr>
          </a:lstStyle>
          <a:p>
            <a:endParaRPr/>
          </a:p>
        </p:txBody>
      </p:sp>
      <p:sp>
        <p:nvSpPr>
          <p:cNvPr id="61" name="Google Shape;61;p5"/>
          <p:cNvSpPr txBox="1">
            <a:spLocks noGrp="1"/>
          </p:cNvSpPr>
          <p:nvPr>
            <p:ph type="body" idx="4"/>
          </p:nvPr>
        </p:nvSpPr>
        <p:spPr>
          <a:xfrm>
            <a:off x="6990200" y="3958300"/>
            <a:ext cx="4599600" cy="1145100"/>
          </a:xfrm>
          <a:prstGeom prst="rect">
            <a:avLst/>
          </a:prstGeom>
        </p:spPr>
        <p:txBody>
          <a:bodyPr spcFirstLastPara="1" wrap="square" lIns="0" tIns="0" rIns="0" bIns="0" anchor="t" anchorCtr="0">
            <a:noAutofit/>
          </a:bodyPr>
          <a:lstStyle>
            <a:lvl1pPr marL="457200" lvl="0" indent="-361950" rtl="0">
              <a:spcBef>
                <a:spcPts val="640"/>
              </a:spcBef>
              <a:spcAft>
                <a:spcPts val="0"/>
              </a:spcAft>
              <a:buSzPts val="2100"/>
              <a:buChar char="•"/>
              <a:defRPr sz="2100"/>
            </a:lvl1pPr>
            <a:lvl2pPr marL="914400" lvl="1" indent="-361950" rtl="0">
              <a:spcBef>
                <a:spcPts val="560"/>
              </a:spcBef>
              <a:spcAft>
                <a:spcPts val="0"/>
              </a:spcAft>
              <a:buSzPts val="2100"/>
              <a:buChar char="–"/>
              <a:defRPr/>
            </a:lvl2pPr>
            <a:lvl3pPr marL="1371600" lvl="2" indent="-361950" rtl="0">
              <a:spcBef>
                <a:spcPts val="480"/>
              </a:spcBef>
              <a:spcAft>
                <a:spcPts val="0"/>
              </a:spcAft>
              <a:buSzPts val="2100"/>
              <a:buChar char="•"/>
              <a:defRPr/>
            </a:lvl3pPr>
            <a:lvl4pPr marL="1828800" lvl="3" indent="-361950" rtl="0">
              <a:spcBef>
                <a:spcPts val="400"/>
              </a:spcBef>
              <a:spcAft>
                <a:spcPts val="0"/>
              </a:spcAft>
              <a:buSzPts val="2100"/>
              <a:buChar char="–"/>
              <a:defRPr/>
            </a:lvl4pPr>
            <a:lvl5pPr marL="2286000" lvl="4" indent="-361950" rtl="0">
              <a:spcBef>
                <a:spcPts val="400"/>
              </a:spcBef>
              <a:spcAft>
                <a:spcPts val="0"/>
              </a:spcAft>
              <a:buSzPts val="2100"/>
              <a:buChar char="»"/>
              <a:defRPr/>
            </a:lvl5pPr>
            <a:lvl6pPr marL="2743200" lvl="5" indent="-361950" rtl="0">
              <a:spcBef>
                <a:spcPts val="400"/>
              </a:spcBef>
              <a:spcAft>
                <a:spcPts val="0"/>
              </a:spcAft>
              <a:buSzPts val="2100"/>
              <a:buChar char="•"/>
              <a:defRPr/>
            </a:lvl6pPr>
            <a:lvl7pPr marL="3200400" lvl="6" indent="-361950" rtl="0">
              <a:spcBef>
                <a:spcPts val="400"/>
              </a:spcBef>
              <a:spcAft>
                <a:spcPts val="0"/>
              </a:spcAft>
              <a:buSzPts val="2100"/>
              <a:buChar char="•"/>
              <a:defRPr/>
            </a:lvl7pPr>
            <a:lvl8pPr marL="3657600" lvl="7" indent="-361950" rtl="0">
              <a:spcBef>
                <a:spcPts val="400"/>
              </a:spcBef>
              <a:spcAft>
                <a:spcPts val="0"/>
              </a:spcAft>
              <a:buSzPts val="2100"/>
              <a:buChar char="•"/>
              <a:defRPr/>
            </a:lvl8pPr>
            <a:lvl9pPr marL="4114800" lvl="8" indent="-361950" rtl="0">
              <a:spcBef>
                <a:spcPts val="400"/>
              </a:spcBef>
              <a:spcAft>
                <a:spcPts val="0"/>
              </a:spcAft>
              <a:buSzPts val="2100"/>
              <a:buChar char="•"/>
              <a:defRPr/>
            </a:lvl9pPr>
          </a:lstStyle>
          <a:p>
            <a:endParaRPr/>
          </a:p>
        </p:txBody>
      </p:sp>
      <p:sp>
        <p:nvSpPr>
          <p:cNvPr id="62" name="Google Shape;62;p5"/>
          <p:cNvSpPr txBox="1">
            <a:spLocks noGrp="1"/>
          </p:cNvSpPr>
          <p:nvPr>
            <p:ph type="body" idx="5"/>
          </p:nvPr>
        </p:nvSpPr>
        <p:spPr>
          <a:xfrm>
            <a:off x="12763100" y="3966150"/>
            <a:ext cx="4599600" cy="1145100"/>
          </a:xfrm>
          <a:prstGeom prst="rect">
            <a:avLst/>
          </a:prstGeom>
        </p:spPr>
        <p:txBody>
          <a:bodyPr spcFirstLastPara="1" wrap="square" lIns="0" tIns="0" rIns="0" bIns="0" anchor="t" anchorCtr="0">
            <a:noAutofit/>
          </a:bodyPr>
          <a:lstStyle>
            <a:lvl1pPr marL="457200" lvl="0" indent="-361950" rtl="0">
              <a:spcBef>
                <a:spcPts val="640"/>
              </a:spcBef>
              <a:spcAft>
                <a:spcPts val="0"/>
              </a:spcAft>
              <a:buSzPts val="2100"/>
              <a:buChar char="•"/>
              <a:defRPr sz="2100"/>
            </a:lvl1pPr>
            <a:lvl2pPr marL="914400" lvl="1" indent="-361950" rtl="0">
              <a:spcBef>
                <a:spcPts val="560"/>
              </a:spcBef>
              <a:spcAft>
                <a:spcPts val="0"/>
              </a:spcAft>
              <a:buSzPts val="2100"/>
              <a:buChar char="–"/>
              <a:defRPr/>
            </a:lvl2pPr>
            <a:lvl3pPr marL="1371600" lvl="2" indent="-361950" rtl="0">
              <a:spcBef>
                <a:spcPts val="480"/>
              </a:spcBef>
              <a:spcAft>
                <a:spcPts val="0"/>
              </a:spcAft>
              <a:buSzPts val="2100"/>
              <a:buChar char="•"/>
              <a:defRPr/>
            </a:lvl3pPr>
            <a:lvl4pPr marL="1828800" lvl="3" indent="-361950" rtl="0">
              <a:spcBef>
                <a:spcPts val="400"/>
              </a:spcBef>
              <a:spcAft>
                <a:spcPts val="0"/>
              </a:spcAft>
              <a:buSzPts val="2100"/>
              <a:buChar char="–"/>
              <a:defRPr/>
            </a:lvl4pPr>
            <a:lvl5pPr marL="2286000" lvl="4" indent="-361950" rtl="0">
              <a:spcBef>
                <a:spcPts val="400"/>
              </a:spcBef>
              <a:spcAft>
                <a:spcPts val="0"/>
              </a:spcAft>
              <a:buSzPts val="2100"/>
              <a:buChar char="»"/>
              <a:defRPr/>
            </a:lvl5pPr>
            <a:lvl6pPr marL="2743200" lvl="5" indent="-361950" rtl="0">
              <a:spcBef>
                <a:spcPts val="400"/>
              </a:spcBef>
              <a:spcAft>
                <a:spcPts val="0"/>
              </a:spcAft>
              <a:buSzPts val="2100"/>
              <a:buChar char="•"/>
              <a:defRPr/>
            </a:lvl6pPr>
            <a:lvl7pPr marL="3200400" lvl="6" indent="-361950" rtl="0">
              <a:spcBef>
                <a:spcPts val="400"/>
              </a:spcBef>
              <a:spcAft>
                <a:spcPts val="0"/>
              </a:spcAft>
              <a:buSzPts val="2100"/>
              <a:buChar char="•"/>
              <a:defRPr/>
            </a:lvl7pPr>
            <a:lvl8pPr marL="3657600" lvl="7" indent="-361950" rtl="0">
              <a:spcBef>
                <a:spcPts val="400"/>
              </a:spcBef>
              <a:spcAft>
                <a:spcPts val="0"/>
              </a:spcAft>
              <a:buSzPts val="2100"/>
              <a:buChar char="•"/>
              <a:defRPr/>
            </a:lvl8pPr>
            <a:lvl9pPr marL="4114800" lvl="8" indent="-361950" rtl="0">
              <a:spcBef>
                <a:spcPts val="400"/>
              </a:spcBef>
              <a:spcAft>
                <a:spcPts val="0"/>
              </a:spcAft>
              <a:buSzPts val="2100"/>
              <a:buChar char="•"/>
              <a:defRPr/>
            </a:lvl9pPr>
          </a:lstStyle>
          <a:p>
            <a:endParaRPr/>
          </a:p>
        </p:txBody>
      </p:sp>
      <p:sp>
        <p:nvSpPr>
          <p:cNvPr id="63" name="Google Shape;63;p5"/>
          <p:cNvSpPr txBox="1">
            <a:spLocks noGrp="1"/>
          </p:cNvSpPr>
          <p:nvPr>
            <p:ph type="title" idx="6"/>
          </p:nvPr>
        </p:nvSpPr>
        <p:spPr>
          <a:xfrm>
            <a:off x="1087875" y="656525"/>
            <a:ext cx="6985200" cy="1145100"/>
          </a:xfrm>
          <a:prstGeom prst="rect">
            <a:avLst/>
          </a:prstGeom>
        </p:spPr>
        <p:txBody>
          <a:bodyPr spcFirstLastPara="1" wrap="square" lIns="0" tIns="0" rIns="0" bIns="0" anchor="t" anchorCtr="0">
            <a:noAutofit/>
          </a:bodyPr>
          <a:lstStyle>
            <a:lvl1pPr lvl="0" rtl="0">
              <a:spcBef>
                <a:spcPts val="0"/>
              </a:spcBef>
              <a:spcAft>
                <a:spcPts val="0"/>
              </a:spcAft>
              <a:buSzPts val="6500"/>
              <a:buNone/>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64" name="Google Shape;64;p5"/>
          <p:cNvSpPr txBox="1">
            <a:spLocks noGrp="1"/>
          </p:cNvSpPr>
          <p:nvPr>
            <p:ph type="body" idx="7"/>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rtl="0">
              <a:spcBef>
                <a:spcPts val="640"/>
              </a:spcBef>
              <a:spcAft>
                <a:spcPts val="0"/>
              </a:spcAft>
              <a:buSzPts val="2100"/>
              <a:buChar char="•"/>
              <a:defRPr sz="2100"/>
            </a:lvl1pPr>
            <a:lvl2pPr marL="914400" lvl="1" indent="-361950" algn="r" rtl="0">
              <a:spcBef>
                <a:spcPts val="560"/>
              </a:spcBef>
              <a:spcAft>
                <a:spcPts val="0"/>
              </a:spcAft>
              <a:buSzPts val="2100"/>
              <a:buChar char="–"/>
              <a:defRPr/>
            </a:lvl2pPr>
            <a:lvl3pPr marL="1371600" lvl="2" indent="-361950" algn="r" rtl="0">
              <a:spcBef>
                <a:spcPts val="480"/>
              </a:spcBef>
              <a:spcAft>
                <a:spcPts val="0"/>
              </a:spcAft>
              <a:buSzPts val="2100"/>
              <a:buChar char="•"/>
              <a:defRPr/>
            </a:lvl3pPr>
            <a:lvl4pPr marL="1828800" lvl="3" indent="-361950" algn="r" rtl="0">
              <a:spcBef>
                <a:spcPts val="400"/>
              </a:spcBef>
              <a:spcAft>
                <a:spcPts val="0"/>
              </a:spcAft>
              <a:buSzPts val="2100"/>
              <a:buChar char="–"/>
              <a:defRPr/>
            </a:lvl4pPr>
            <a:lvl5pPr marL="2286000" lvl="4" indent="-361950" algn="r" rtl="0">
              <a:spcBef>
                <a:spcPts val="400"/>
              </a:spcBef>
              <a:spcAft>
                <a:spcPts val="0"/>
              </a:spcAft>
              <a:buSzPts val="2100"/>
              <a:buChar char="»"/>
              <a:defRPr/>
            </a:lvl5pPr>
            <a:lvl6pPr marL="2743200" lvl="5" indent="-361950" algn="r" rtl="0">
              <a:spcBef>
                <a:spcPts val="400"/>
              </a:spcBef>
              <a:spcAft>
                <a:spcPts val="0"/>
              </a:spcAft>
              <a:buSzPts val="2100"/>
              <a:buChar char="•"/>
              <a:defRPr/>
            </a:lvl6pPr>
            <a:lvl7pPr marL="3200400" lvl="6" indent="-361950" algn="r" rtl="0">
              <a:spcBef>
                <a:spcPts val="400"/>
              </a:spcBef>
              <a:spcAft>
                <a:spcPts val="0"/>
              </a:spcAft>
              <a:buSzPts val="2100"/>
              <a:buChar char="•"/>
              <a:defRPr/>
            </a:lvl7pPr>
            <a:lvl8pPr marL="3657600" lvl="7" indent="-361950" algn="r" rtl="0">
              <a:spcBef>
                <a:spcPts val="400"/>
              </a:spcBef>
              <a:spcAft>
                <a:spcPts val="0"/>
              </a:spcAft>
              <a:buSzPts val="2100"/>
              <a:buChar char="•"/>
              <a:defRPr/>
            </a:lvl8pPr>
            <a:lvl9pPr marL="4114800" lvl="8" indent="-361950" algn="r" rtl="0">
              <a:spcBef>
                <a:spcPts val="400"/>
              </a:spcBef>
              <a:spcAft>
                <a:spcPts val="0"/>
              </a:spcAft>
              <a:buSzPts val="21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ustom Layout 3">
  <p:cSld name="CUSTOM_2">
    <p:spTree>
      <p:nvGrpSpPr>
        <p:cNvPr id="1" name="Shape 65"/>
        <p:cNvGrpSpPr/>
        <p:nvPr/>
      </p:nvGrpSpPr>
      <p:grpSpPr>
        <a:xfrm>
          <a:off x="0" y="0"/>
          <a:ext cx="0" cy="0"/>
          <a:chOff x="0" y="0"/>
          <a:chExt cx="0" cy="0"/>
        </a:xfrm>
      </p:grpSpPr>
      <p:grpSp>
        <p:nvGrpSpPr>
          <p:cNvPr id="66" name="Google Shape;66;p6"/>
          <p:cNvGrpSpPr/>
          <p:nvPr/>
        </p:nvGrpSpPr>
        <p:grpSpPr>
          <a:xfrm>
            <a:off x="317543" y="333913"/>
            <a:ext cx="17653307" cy="9647012"/>
            <a:chOff x="0" y="0"/>
            <a:chExt cx="4649400" cy="2540760"/>
          </a:xfrm>
        </p:grpSpPr>
        <p:sp>
          <p:nvSpPr>
            <p:cNvPr id="67" name="Google Shape;67;p6"/>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68" name="Google Shape;68;p6"/>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69" name="Google Shape;69;p6"/>
          <p:cNvSpPr>
            <a:spLocks noGrp="1"/>
          </p:cNvSpPr>
          <p:nvPr>
            <p:ph type="pic" idx="2"/>
          </p:nvPr>
        </p:nvSpPr>
        <p:spPr>
          <a:xfrm>
            <a:off x="1030600" y="5828675"/>
            <a:ext cx="16230600" cy="3790200"/>
          </a:xfrm>
          <a:prstGeom prst="rect">
            <a:avLst/>
          </a:prstGeom>
          <a:noFill/>
          <a:ln>
            <a:noFill/>
          </a:ln>
        </p:spPr>
      </p:sp>
      <p:cxnSp>
        <p:nvCxnSpPr>
          <p:cNvPr id="70" name="Google Shape;70;p6"/>
          <p:cNvCxnSpPr/>
          <p:nvPr/>
        </p:nvCxnSpPr>
        <p:spPr>
          <a:xfrm rot="10800000">
            <a:off x="1028700" y="5143500"/>
            <a:ext cx="16230600" cy="0"/>
          </a:xfrm>
          <a:prstGeom prst="straightConnector1">
            <a:avLst/>
          </a:prstGeom>
          <a:noFill/>
          <a:ln w="28575" cap="flat" cmpd="sng">
            <a:solidFill>
              <a:srgbClr val="000000"/>
            </a:solidFill>
            <a:prstDash val="solid"/>
            <a:round/>
            <a:headEnd type="none" w="sm" len="sm"/>
            <a:tailEnd type="none" w="sm" len="sm"/>
          </a:ln>
        </p:spPr>
      </p:cxnSp>
      <p:sp>
        <p:nvSpPr>
          <p:cNvPr id="71" name="Google Shape;71;p6"/>
          <p:cNvSpPr txBox="1">
            <a:spLocks noGrp="1"/>
          </p:cNvSpPr>
          <p:nvPr>
            <p:ph type="title"/>
          </p:nvPr>
        </p:nvSpPr>
        <p:spPr>
          <a:xfrm>
            <a:off x="1087875" y="656525"/>
            <a:ext cx="6985200" cy="1145100"/>
          </a:xfrm>
          <a:prstGeom prst="rect">
            <a:avLst/>
          </a:prstGeom>
        </p:spPr>
        <p:txBody>
          <a:bodyPr spcFirstLastPara="1" wrap="square" lIns="0" tIns="0" rIns="0" bIns="0" anchor="t" anchorCtr="0">
            <a:noAutofit/>
          </a:bodyPr>
          <a:lstStyle>
            <a:lvl1pPr lvl="0">
              <a:spcBef>
                <a:spcPts val="0"/>
              </a:spcBef>
              <a:spcAft>
                <a:spcPts val="0"/>
              </a:spcAft>
              <a:buSzPts val="65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72" name="Google Shape;72;p6"/>
          <p:cNvSpPr txBox="1">
            <a:spLocks noGrp="1"/>
          </p:cNvSpPr>
          <p:nvPr>
            <p:ph type="body" idx="1"/>
          </p:nvPr>
        </p:nvSpPr>
        <p:spPr>
          <a:xfrm>
            <a:off x="1106950" y="2278800"/>
            <a:ext cx="6985200" cy="2290200"/>
          </a:xfrm>
          <a:prstGeom prst="rect">
            <a:avLst/>
          </a:prstGeom>
        </p:spPr>
        <p:txBody>
          <a:bodyPr spcFirstLastPara="1" wrap="square" lIns="0" tIns="0" rIns="0" bIns="0" anchor="t" anchorCtr="0">
            <a:noAutofit/>
          </a:bodyPr>
          <a:lstStyle>
            <a:lvl1pPr marL="457200" lvl="0" indent="-361950" algn="just">
              <a:spcBef>
                <a:spcPts val="640"/>
              </a:spcBef>
              <a:spcAft>
                <a:spcPts val="0"/>
              </a:spcAft>
              <a:buSzPts val="2100"/>
              <a:buChar char="•"/>
              <a:defRPr sz="2100"/>
            </a:lvl1pPr>
            <a:lvl2pPr marL="914400" lvl="1" indent="-361950" algn="just">
              <a:spcBef>
                <a:spcPts val="560"/>
              </a:spcBef>
              <a:spcAft>
                <a:spcPts val="0"/>
              </a:spcAft>
              <a:buSzPts val="2100"/>
              <a:buChar char="–"/>
              <a:defRPr/>
            </a:lvl2pPr>
            <a:lvl3pPr marL="1371600" lvl="2" indent="-361950" algn="just">
              <a:spcBef>
                <a:spcPts val="480"/>
              </a:spcBef>
              <a:spcAft>
                <a:spcPts val="0"/>
              </a:spcAft>
              <a:buSzPts val="2100"/>
              <a:buChar char="•"/>
              <a:defRPr/>
            </a:lvl3pPr>
            <a:lvl4pPr marL="1828800" lvl="3" indent="-361950" algn="just">
              <a:spcBef>
                <a:spcPts val="400"/>
              </a:spcBef>
              <a:spcAft>
                <a:spcPts val="0"/>
              </a:spcAft>
              <a:buSzPts val="2100"/>
              <a:buChar char="–"/>
              <a:defRPr/>
            </a:lvl4pPr>
            <a:lvl5pPr marL="2286000" lvl="4" indent="-361950" algn="just">
              <a:spcBef>
                <a:spcPts val="400"/>
              </a:spcBef>
              <a:spcAft>
                <a:spcPts val="0"/>
              </a:spcAft>
              <a:buSzPts val="2100"/>
              <a:buChar char="»"/>
              <a:defRPr/>
            </a:lvl5pPr>
            <a:lvl6pPr marL="2743200" lvl="5" indent="-361950" algn="just">
              <a:spcBef>
                <a:spcPts val="400"/>
              </a:spcBef>
              <a:spcAft>
                <a:spcPts val="0"/>
              </a:spcAft>
              <a:buSzPts val="2100"/>
              <a:buChar char="•"/>
              <a:defRPr/>
            </a:lvl6pPr>
            <a:lvl7pPr marL="3200400" lvl="6" indent="-361950" algn="just">
              <a:spcBef>
                <a:spcPts val="400"/>
              </a:spcBef>
              <a:spcAft>
                <a:spcPts val="0"/>
              </a:spcAft>
              <a:buSzPts val="2100"/>
              <a:buChar char="•"/>
              <a:defRPr/>
            </a:lvl7pPr>
            <a:lvl8pPr marL="3657600" lvl="7" indent="-361950" algn="just">
              <a:spcBef>
                <a:spcPts val="400"/>
              </a:spcBef>
              <a:spcAft>
                <a:spcPts val="0"/>
              </a:spcAft>
              <a:buSzPts val="2100"/>
              <a:buChar char="•"/>
              <a:defRPr/>
            </a:lvl8pPr>
            <a:lvl9pPr marL="4114800" lvl="8" indent="-361950" algn="just">
              <a:spcBef>
                <a:spcPts val="400"/>
              </a:spcBef>
              <a:spcAft>
                <a:spcPts val="0"/>
              </a:spcAft>
              <a:buSzPts val="2100"/>
              <a:buChar char="•"/>
              <a:defRPr/>
            </a:lvl9pPr>
          </a:lstStyle>
          <a:p>
            <a:endParaRPr/>
          </a:p>
        </p:txBody>
      </p:sp>
      <p:sp>
        <p:nvSpPr>
          <p:cNvPr id="73" name="Google Shape;73;p6"/>
          <p:cNvSpPr txBox="1">
            <a:spLocks noGrp="1"/>
          </p:cNvSpPr>
          <p:nvPr>
            <p:ph type="body" idx="3"/>
          </p:nvPr>
        </p:nvSpPr>
        <p:spPr>
          <a:xfrm>
            <a:off x="10274000" y="2278800"/>
            <a:ext cx="6985200" cy="2290200"/>
          </a:xfrm>
          <a:prstGeom prst="rect">
            <a:avLst/>
          </a:prstGeom>
        </p:spPr>
        <p:txBody>
          <a:bodyPr spcFirstLastPara="1" wrap="square" lIns="0" tIns="0" rIns="0" bIns="0" anchor="t" anchorCtr="0">
            <a:noAutofit/>
          </a:bodyPr>
          <a:lstStyle>
            <a:lvl1pPr marL="457200" lvl="0" indent="-361950" algn="just" rtl="0">
              <a:spcBef>
                <a:spcPts val="640"/>
              </a:spcBef>
              <a:spcAft>
                <a:spcPts val="0"/>
              </a:spcAft>
              <a:buSzPts val="2100"/>
              <a:buChar char="•"/>
              <a:defRPr sz="2100"/>
            </a:lvl1pPr>
            <a:lvl2pPr marL="914400" lvl="1" indent="-361950" algn="just" rtl="0">
              <a:spcBef>
                <a:spcPts val="560"/>
              </a:spcBef>
              <a:spcAft>
                <a:spcPts val="0"/>
              </a:spcAft>
              <a:buSzPts val="2100"/>
              <a:buChar char="–"/>
              <a:defRPr/>
            </a:lvl2pPr>
            <a:lvl3pPr marL="1371600" lvl="2" indent="-361950" algn="just" rtl="0">
              <a:spcBef>
                <a:spcPts val="480"/>
              </a:spcBef>
              <a:spcAft>
                <a:spcPts val="0"/>
              </a:spcAft>
              <a:buSzPts val="2100"/>
              <a:buChar char="•"/>
              <a:defRPr/>
            </a:lvl3pPr>
            <a:lvl4pPr marL="1828800" lvl="3" indent="-361950" algn="just" rtl="0">
              <a:spcBef>
                <a:spcPts val="400"/>
              </a:spcBef>
              <a:spcAft>
                <a:spcPts val="0"/>
              </a:spcAft>
              <a:buSzPts val="2100"/>
              <a:buChar char="–"/>
              <a:defRPr/>
            </a:lvl4pPr>
            <a:lvl5pPr marL="2286000" lvl="4" indent="-361950" algn="just" rtl="0">
              <a:spcBef>
                <a:spcPts val="400"/>
              </a:spcBef>
              <a:spcAft>
                <a:spcPts val="0"/>
              </a:spcAft>
              <a:buSzPts val="2100"/>
              <a:buChar char="»"/>
              <a:defRPr/>
            </a:lvl5pPr>
            <a:lvl6pPr marL="2743200" lvl="5" indent="-361950" algn="just" rtl="0">
              <a:spcBef>
                <a:spcPts val="400"/>
              </a:spcBef>
              <a:spcAft>
                <a:spcPts val="0"/>
              </a:spcAft>
              <a:buSzPts val="2100"/>
              <a:buChar char="•"/>
              <a:defRPr/>
            </a:lvl6pPr>
            <a:lvl7pPr marL="3200400" lvl="6" indent="-361950" algn="just" rtl="0">
              <a:spcBef>
                <a:spcPts val="400"/>
              </a:spcBef>
              <a:spcAft>
                <a:spcPts val="0"/>
              </a:spcAft>
              <a:buSzPts val="2100"/>
              <a:buChar char="•"/>
              <a:defRPr/>
            </a:lvl7pPr>
            <a:lvl8pPr marL="3657600" lvl="7" indent="-361950" algn="just" rtl="0">
              <a:spcBef>
                <a:spcPts val="400"/>
              </a:spcBef>
              <a:spcAft>
                <a:spcPts val="0"/>
              </a:spcAft>
              <a:buSzPts val="2100"/>
              <a:buChar char="•"/>
              <a:defRPr/>
            </a:lvl8pPr>
            <a:lvl9pPr marL="4114800" lvl="8" indent="-361950" algn="just" rtl="0">
              <a:spcBef>
                <a:spcPts val="400"/>
              </a:spcBef>
              <a:spcAft>
                <a:spcPts val="0"/>
              </a:spcAft>
              <a:buSzPts val="2100"/>
              <a:buChar char="•"/>
              <a:defRPr/>
            </a:lvl9pPr>
          </a:lstStyle>
          <a:p>
            <a:endParaRPr/>
          </a:p>
        </p:txBody>
      </p:sp>
      <p:sp>
        <p:nvSpPr>
          <p:cNvPr id="74" name="Google Shape;74;p6"/>
          <p:cNvSpPr txBox="1">
            <a:spLocks noGrp="1"/>
          </p:cNvSpPr>
          <p:nvPr>
            <p:ph type="body" idx="4"/>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a:spcBef>
                <a:spcPts val="640"/>
              </a:spcBef>
              <a:spcAft>
                <a:spcPts val="0"/>
              </a:spcAft>
              <a:buSzPts val="2100"/>
              <a:buChar char="•"/>
              <a:defRPr sz="2100"/>
            </a:lvl1pPr>
            <a:lvl2pPr marL="914400" lvl="1" indent="-361950" algn="r">
              <a:spcBef>
                <a:spcPts val="560"/>
              </a:spcBef>
              <a:spcAft>
                <a:spcPts val="0"/>
              </a:spcAft>
              <a:buSzPts val="2100"/>
              <a:buChar char="–"/>
              <a:defRPr/>
            </a:lvl2pPr>
            <a:lvl3pPr marL="1371600" lvl="2" indent="-361950" algn="r">
              <a:spcBef>
                <a:spcPts val="480"/>
              </a:spcBef>
              <a:spcAft>
                <a:spcPts val="0"/>
              </a:spcAft>
              <a:buSzPts val="2100"/>
              <a:buChar char="•"/>
              <a:defRPr/>
            </a:lvl3pPr>
            <a:lvl4pPr marL="1828800" lvl="3" indent="-361950" algn="r">
              <a:spcBef>
                <a:spcPts val="400"/>
              </a:spcBef>
              <a:spcAft>
                <a:spcPts val="0"/>
              </a:spcAft>
              <a:buSzPts val="2100"/>
              <a:buChar char="–"/>
              <a:defRPr/>
            </a:lvl4pPr>
            <a:lvl5pPr marL="2286000" lvl="4" indent="-361950" algn="r">
              <a:spcBef>
                <a:spcPts val="400"/>
              </a:spcBef>
              <a:spcAft>
                <a:spcPts val="0"/>
              </a:spcAft>
              <a:buSzPts val="2100"/>
              <a:buChar char="»"/>
              <a:defRPr/>
            </a:lvl5pPr>
            <a:lvl6pPr marL="2743200" lvl="5" indent="-361950" algn="r">
              <a:spcBef>
                <a:spcPts val="400"/>
              </a:spcBef>
              <a:spcAft>
                <a:spcPts val="0"/>
              </a:spcAft>
              <a:buSzPts val="2100"/>
              <a:buChar char="•"/>
              <a:defRPr/>
            </a:lvl6pPr>
            <a:lvl7pPr marL="3200400" lvl="6" indent="-361950" algn="r">
              <a:spcBef>
                <a:spcPts val="400"/>
              </a:spcBef>
              <a:spcAft>
                <a:spcPts val="0"/>
              </a:spcAft>
              <a:buSzPts val="2100"/>
              <a:buChar char="•"/>
              <a:defRPr/>
            </a:lvl7pPr>
            <a:lvl8pPr marL="3657600" lvl="7" indent="-361950" algn="r">
              <a:spcBef>
                <a:spcPts val="400"/>
              </a:spcBef>
              <a:spcAft>
                <a:spcPts val="0"/>
              </a:spcAft>
              <a:buSzPts val="2100"/>
              <a:buChar char="•"/>
              <a:defRPr/>
            </a:lvl8pPr>
            <a:lvl9pPr marL="4114800" lvl="8" indent="-361950" algn="r">
              <a:spcBef>
                <a:spcPts val="400"/>
              </a:spcBef>
              <a:spcAft>
                <a:spcPts val="0"/>
              </a:spcAft>
              <a:buSzPts val="21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ustom Layout 2">
  <p:cSld name="CUSTOM_1">
    <p:spTree>
      <p:nvGrpSpPr>
        <p:cNvPr id="1" name="Shape 75"/>
        <p:cNvGrpSpPr/>
        <p:nvPr/>
      </p:nvGrpSpPr>
      <p:grpSpPr>
        <a:xfrm>
          <a:off x="0" y="0"/>
          <a:ext cx="0" cy="0"/>
          <a:chOff x="0" y="0"/>
          <a:chExt cx="0" cy="0"/>
        </a:xfrm>
      </p:grpSpPr>
      <p:sp>
        <p:nvSpPr>
          <p:cNvPr id="76" name="Google Shape;76;p7"/>
          <p:cNvSpPr>
            <a:spLocks noGrp="1"/>
          </p:cNvSpPr>
          <p:nvPr>
            <p:ph type="pic" idx="2"/>
          </p:nvPr>
        </p:nvSpPr>
        <p:spPr>
          <a:xfrm>
            <a:off x="275" y="-49625"/>
            <a:ext cx="18288000" cy="10336800"/>
          </a:xfrm>
          <a:prstGeom prst="rect">
            <a:avLst/>
          </a:prstGeom>
          <a:noFill/>
          <a:ln>
            <a:noFill/>
          </a:ln>
        </p:spPr>
      </p:sp>
      <p:grpSp>
        <p:nvGrpSpPr>
          <p:cNvPr id="77" name="Google Shape;77;p7"/>
          <p:cNvGrpSpPr/>
          <p:nvPr/>
        </p:nvGrpSpPr>
        <p:grpSpPr>
          <a:xfrm>
            <a:off x="6885894" y="2106196"/>
            <a:ext cx="11554726" cy="3635270"/>
            <a:chOff x="0" y="0"/>
            <a:chExt cx="3043200" cy="957431"/>
          </a:xfrm>
        </p:grpSpPr>
        <p:sp>
          <p:nvSpPr>
            <p:cNvPr id="78" name="Google Shape;78;p7"/>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FFFFFF">
                <a:alpha val="50590"/>
              </a:srgbClr>
            </a:solidFill>
            <a:ln>
              <a:noFill/>
            </a:ln>
          </p:spPr>
        </p:sp>
        <p:sp>
          <p:nvSpPr>
            <p:cNvPr id="79" name="Google Shape;79;p7"/>
            <p:cNvSpPr txBox="1"/>
            <p:nvPr/>
          </p:nvSpPr>
          <p:spPr>
            <a:xfrm>
              <a:off x="0" y="38100"/>
              <a:ext cx="3043200" cy="919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80" name="Google Shape;80;p7"/>
          <p:cNvGrpSpPr/>
          <p:nvPr/>
        </p:nvGrpSpPr>
        <p:grpSpPr>
          <a:xfrm>
            <a:off x="6733494" y="1953796"/>
            <a:ext cx="11554726" cy="3635270"/>
            <a:chOff x="0" y="0"/>
            <a:chExt cx="3043200" cy="957431"/>
          </a:xfrm>
        </p:grpSpPr>
        <p:sp>
          <p:nvSpPr>
            <p:cNvPr id="81" name="Google Shape;81;p7"/>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0B6AE9"/>
            </a:solidFill>
            <a:ln>
              <a:noFill/>
            </a:ln>
          </p:spPr>
        </p:sp>
        <p:sp>
          <p:nvSpPr>
            <p:cNvPr id="82" name="Google Shape;82;p7"/>
            <p:cNvSpPr txBox="1"/>
            <p:nvPr/>
          </p:nvSpPr>
          <p:spPr>
            <a:xfrm>
              <a:off x="0" y="38100"/>
              <a:ext cx="3043200" cy="919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83" name="Google Shape;83;p7"/>
          <p:cNvGrpSpPr/>
          <p:nvPr/>
        </p:nvGrpSpPr>
        <p:grpSpPr>
          <a:xfrm>
            <a:off x="0" y="-49725"/>
            <a:ext cx="1028706" cy="10336918"/>
            <a:chOff x="0" y="0"/>
            <a:chExt cx="270933" cy="2709333"/>
          </a:xfrm>
        </p:grpSpPr>
        <p:sp>
          <p:nvSpPr>
            <p:cNvPr id="84" name="Google Shape;84;p7"/>
            <p:cNvSpPr/>
            <p:nvPr/>
          </p:nvSpPr>
          <p:spPr>
            <a:xfrm>
              <a:off x="0" y="0"/>
              <a:ext cx="270933" cy="2709333"/>
            </a:xfrm>
            <a:custGeom>
              <a:avLst/>
              <a:gdLst/>
              <a:ahLst/>
              <a:cxnLst/>
              <a:rect l="l" t="t" r="r" b="b"/>
              <a:pathLst>
                <a:path w="270933" h="2709333" extrusionOk="0">
                  <a:moveTo>
                    <a:pt x="0" y="0"/>
                  </a:moveTo>
                  <a:lnTo>
                    <a:pt x="270933" y="0"/>
                  </a:lnTo>
                  <a:lnTo>
                    <a:pt x="270933" y="2709333"/>
                  </a:lnTo>
                  <a:lnTo>
                    <a:pt x="0" y="2709333"/>
                  </a:lnTo>
                  <a:close/>
                </a:path>
              </a:pathLst>
            </a:custGeom>
            <a:solidFill>
              <a:srgbClr val="0B6AE9"/>
            </a:solidFill>
            <a:ln>
              <a:noFill/>
            </a:ln>
          </p:spPr>
        </p:sp>
        <p:sp>
          <p:nvSpPr>
            <p:cNvPr id="85" name="Google Shape;85;p7"/>
            <p:cNvSpPr txBox="1"/>
            <p:nvPr/>
          </p:nvSpPr>
          <p:spPr>
            <a:xfrm>
              <a:off x="0" y="38100"/>
              <a:ext cx="270900" cy="2671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86" name="Google Shape;86;p7"/>
          <p:cNvSpPr txBox="1">
            <a:spLocks noGrp="1"/>
          </p:cNvSpPr>
          <p:nvPr>
            <p:ph type="title"/>
          </p:nvPr>
        </p:nvSpPr>
        <p:spPr>
          <a:xfrm>
            <a:off x="7500550" y="2442925"/>
            <a:ext cx="9580800" cy="16221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9000"/>
              <a:buNone/>
              <a:defRPr sz="9000">
                <a:solidFill>
                  <a:schemeClr val="lt1"/>
                </a:solidFill>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87" name="Google Shape;87;p7"/>
          <p:cNvSpPr txBox="1">
            <a:spLocks noGrp="1"/>
          </p:cNvSpPr>
          <p:nvPr>
            <p:ph type="subTitle" idx="1"/>
          </p:nvPr>
        </p:nvSpPr>
        <p:spPr>
          <a:xfrm>
            <a:off x="7500550" y="4542300"/>
            <a:ext cx="7424100" cy="706200"/>
          </a:xfrm>
          <a:prstGeom prst="rect">
            <a:avLst/>
          </a:prstGeom>
        </p:spPr>
        <p:txBody>
          <a:bodyPr spcFirstLastPara="1" wrap="square" lIns="0" tIns="0" rIns="0" bIns="0" anchor="t" anchorCtr="0">
            <a:noAutofit/>
          </a:bodyPr>
          <a:lstStyle>
            <a:lvl1pPr lvl="0">
              <a:spcBef>
                <a:spcPts val="640"/>
              </a:spcBef>
              <a:spcAft>
                <a:spcPts val="0"/>
              </a:spcAft>
              <a:buClr>
                <a:schemeClr val="lt1"/>
              </a:buClr>
              <a:buSzPts val="3000"/>
              <a:buNone/>
              <a:defRPr>
                <a:solidFill>
                  <a:schemeClr val="lt1"/>
                </a:solidFill>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
        <p:nvSpPr>
          <p:cNvPr id="88" name="Google Shape;88;p7"/>
          <p:cNvSpPr txBox="1">
            <a:spLocks noGrp="1"/>
          </p:cNvSpPr>
          <p:nvPr>
            <p:ph type="subTitle" idx="3"/>
          </p:nvPr>
        </p:nvSpPr>
        <p:spPr>
          <a:xfrm rot="-5400000">
            <a:off x="-767250" y="8300625"/>
            <a:ext cx="2535300" cy="706200"/>
          </a:xfrm>
          <a:prstGeom prst="rect">
            <a:avLst/>
          </a:prstGeom>
        </p:spPr>
        <p:txBody>
          <a:bodyPr spcFirstLastPara="1" wrap="square" lIns="0" tIns="0" rIns="0" bIns="0" anchor="t" anchorCtr="0">
            <a:noAutofit/>
          </a:bodyPr>
          <a:lstStyle>
            <a:lvl1pPr lvl="0">
              <a:spcBef>
                <a:spcPts val="640"/>
              </a:spcBef>
              <a:spcAft>
                <a:spcPts val="0"/>
              </a:spcAft>
              <a:buClr>
                <a:schemeClr val="lt1"/>
              </a:buClr>
              <a:buSzPts val="3000"/>
              <a:buNone/>
              <a:defRPr>
                <a:solidFill>
                  <a:schemeClr val="lt1"/>
                </a:solidFill>
              </a:defRPr>
            </a:lvl1pPr>
            <a:lvl2pPr lvl="1">
              <a:spcBef>
                <a:spcPts val="560"/>
              </a:spcBef>
              <a:spcAft>
                <a:spcPts val="0"/>
              </a:spcAft>
              <a:buClr>
                <a:schemeClr val="lt1"/>
              </a:buClr>
              <a:buSzPts val="2100"/>
              <a:buNone/>
              <a:defRPr>
                <a:solidFill>
                  <a:schemeClr val="lt1"/>
                </a:solidFill>
              </a:defRPr>
            </a:lvl2pPr>
            <a:lvl3pPr lvl="2">
              <a:spcBef>
                <a:spcPts val="480"/>
              </a:spcBef>
              <a:spcAft>
                <a:spcPts val="0"/>
              </a:spcAft>
              <a:buClr>
                <a:schemeClr val="lt1"/>
              </a:buClr>
              <a:buSzPts val="2100"/>
              <a:buNone/>
              <a:defRPr>
                <a:solidFill>
                  <a:schemeClr val="lt1"/>
                </a:solidFill>
              </a:defRPr>
            </a:lvl3pPr>
            <a:lvl4pPr lvl="3">
              <a:spcBef>
                <a:spcPts val="400"/>
              </a:spcBef>
              <a:spcAft>
                <a:spcPts val="0"/>
              </a:spcAft>
              <a:buClr>
                <a:schemeClr val="lt1"/>
              </a:buClr>
              <a:buSzPts val="2100"/>
              <a:buNone/>
              <a:defRPr>
                <a:solidFill>
                  <a:schemeClr val="lt1"/>
                </a:solidFill>
              </a:defRPr>
            </a:lvl4pPr>
            <a:lvl5pPr lvl="4">
              <a:spcBef>
                <a:spcPts val="400"/>
              </a:spcBef>
              <a:spcAft>
                <a:spcPts val="0"/>
              </a:spcAft>
              <a:buClr>
                <a:schemeClr val="lt1"/>
              </a:buClr>
              <a:buSzPts val="2100"/>
              <a:buNone/>
              <a:defRPr>
                <a:solidFill>
                  <a:schemeClr val="lt1"/>
                </a:solidFill>
              </a:defRPr>
            </a:lvl5pPr>
            <a:lvl6pPr lvl="5">
              <a:spcBef>
                <a:spcPts val="400"/>
              </a:spcBef>
              <a:spcAft>
                <a:spcPts val="0"/>
              </a:spcAft>
              <a:buClr>
                <a:schemeClr val="lt1"/>
              </a:buClr>
              <a:buSzPts val="2100"/>
              <a:buNone/>
              <a:defRPr>
                <a:solidFill>
                  <a:schemeClr val="lt1"/>
                </a:solidFill>
              </a:defRPr>
            </a:lvl6pPr>
            <a:lvl7pPr lvl="6">
              <a:spcBef>
                <a:spcPts val="400"/>
              </a:spcBef>
              <a:spcAft>
                <a:spcPts val="0"/>
              </a:spcAft>
              <a:buClr>
                <a:schemeClr val="lt1"/>
              </a:buClr>
              <a:buSzPts val="2100"/>
              <a:buNone/>
              <a:defRPr>
                <a:solidFill>
                  <a:schemeClr val="lt1"/>
                </a:solidFill>
              </a:defRPr>
            </a:lvl7pPr>
            <a:lvl8pPr lvl="7">
              <a:spcBef>
                <a:spcPts val="400"/>
              </a:spcBef>
              <a:spcAft>
                <a:spcPts val="0"/>
              </a:spcAft>
              <a:buClr>
                <a:schemeClr val="lt1"/>
              </a:buClr>
              <a:buSzPts val="2100"/>
              <a:buNone/>
              <a:defRPr>
                <a:solidFill>
                  <a:schemeClr val="lt1"/>
                </a:solidFill>
              </a:defRPr>
            </a:lvl8pPr>
            <a:lvl9pPr lvl="8">
              <a:spcBef>
                <a:spcPts val="400"/>
              </a:spcBef>
              <a:spcAft>
                <a:spcPts val="0"/>
              </a:spcAft>
              <a:buClr>
                <a:schemeClr val="lt1"/>
              </a:buClr>
              <a:buSzPts val="2100"/>
              <a:buNone/>
              <a:defRPr>
                <a:solidFill>
                  <a:schemeClr val="lt1"/>
                </a:solidFill>
              </a:defRPr>
            </a:lvl9pPr>
          </a:lstStyle>
          <a:p>
            <a:endParaRPr/>
          </a:p>
        </p:txBody>
      </p:sp>
      <p:sp>
        <p:nvSpPr>
          <p:cNvPr id="89" name="Google Shape;89;p7"/>
          <p:cNvSpPr txBox="1">
            <a:spLocks noGrp="1"/>
          </p:cNvSpPr>
          <p:nvPr>
            <p:ph type="subTitle" idx="4"/>
          </p:nvPr>
        </p:nvSpPr>
        <p:spPr>
          <a:xfrm rot="-5400000">
            <a:off x="-753300" y="1238750"/>
            <a:ext cx="2535300" cy="706200"/>
          </a:xfrm>
          <a:prstGeom prst="rect">
            <a:avLst/>
          </a:prstGeom>
        </p:spPr>
        <p:txBody>
          <a:bodyPr spcFirstLastPara="1" wrap="square" lIns="0" tIns="0" rIns="0" bIns="0" anchor="t" anchorCtr="0">
            <a:noAutofit/>
          </a:bodyPr>
          <a:lstStyle>
            <a:lvl1pPr lvl="0" algn="r" rtl="0">
              <a:spcBef>
                <a:spcPts val="640"/>
              </a:spcBef>
              <a:spcAft>
                <a:spcPts val="0"/>
              </a:spcAft>
              <a:buClr>
                <a:schemeClr val="lt1"/>
              </a:buClr>
              <a:buSzPts val="3000"/>
              <a:buNone/>
              <a:defRPr>
                <a:solidFill>
                  <a:schemeClr val="lt1"/>
                </a:solidFill>
              </a:defRPr>
            </a:lvl1pPr>
            <a:lvl2pPr lvl="1" algn="r" rtl="0">
              <a:spcBef>
                <a:spcPts val="560"/>
              </a:spcBef>
              <a:spcAft>
                <a:spcPts val="0"/>
              </a:spcAft>
              <a:buClr>
                <a:schemeClr val="lt1"/>
              </a:buClr>
              <a:buSzPts val="2100"/>
              <a:buNone/>
              <a:defRPr>
                <a:solidFill>
                  <a:schemeClr val="lt1"/>
                </a:solidFill>
              </a:defRPr>
            </a:lvl2pPr>
            <a:lvl3pPr lvl="2" algn="r" rtl="0">
              <a:spcBef>
                <a:spcPts val="480"/>
              </a:spcBef>
              <a:spcAft>
                <a:spcPts val="0"/>
              </a:spcAft>
              <a:buClr>
                <a:schemeClr val="lt1"/>
              </a:buClr>
              <a:buSzPts val="2100"/>
              <a:buNone/>
              <a:defRPr>
                <a:solidFill>
                  <a:schemeClr val="lt1"/>
                </a:solidFill>
              </a:defRPr>
            </a:lvl3pPr>
            <a:lvl4pPr lvl="3" algn="r" rtl="0">
              <a:spcBef>
                <a:spcPts val="400"/>
              </a:spcBef>
              <a:spcAft>
                <a:spcPts val="0"/>
              </a:spcAft>
              <a:buClr>
                <a:schemeClr val="lt1"/>
              </a:buClr>
              <a:buSzPts val="2100"/>
              <a:buNone/>
              <a:defRPr>
                <a:solidFill>
                  <a:schemeClr val="lt1"/>
                </a:solidFill>
              </a:defRPr>
            </a:lvl4pPr>
            <a:lvl5pPr lvl="4" algn="r" rtl="0">
              <a:spcBef>
                <a:spcPts val="400"/>
              </a:spcBef>
              <a:spcAft>
                <a:spcPts val="0"/>
              </a:spcAft>
              <a:buClr>
                <a:schemeClr val="lt1"/>
              </a:buClr>
              <a:buSzPts val="2100"/>
              <a:buNone/>
              <a:defRPr>
                <a:solidFill>
                  <a:schemeClr val="lt1"/>
                </a:solidFill>
              </a:defRPr>
            </a:lvl5pPr>
            <a:lvl6pPr lvl="5" algn="r" rtl="0">
              <a:spcBef>
                <a:spcPts val="400"/>
              </a:spcBef>
              <a:spcAft>
                <a:spcPts val="0"/>
              </a:spcAft>
              <a:buClr>
                <a:schemeClr val="lt1"/>
              </a:buClr>
              <a:buSzPts val="2100"/>
              <a:buNone/>
              <a:defRPr>
                <a:solidFill>
                  <a:schemeClr val="lt1"/>
                </a:solidFill>
              </a:defRPr>
            </a:lvl6pPr>
            <a:lvl7pPr lvl="6" algn="r" rtl="0">
              <a:spcBef>
                <a:spcPts val="400"/>
              </a:spcBef>
              <a:spcAft>
                <a:spcPts val="0"/>
              </a:spcAft>
              <a:buClr>
                <a:schemeClr val="lt1"/>
              </a:buClr>
              <a:buSzPts val="2100"/>
              <a:buNone/>
              <a:defRPr>
                <a:solidFill>
                  <a:schemeClr val="lt1"/>
                </a:solidFill>
              </a:defRPr>
            </a:lvl7pPr>
            <a:lvl8pPr lvl="7" algn="r" rtl="0">
              <a:spcBef>
                <a:spcPts val="400"/>
              </a:spcBef>
              <a:spcAft>
                <a:spcPts val="0"/>
              </a:spcAft>
              <a:buClr>
                <a:schemeClr val="lt1"/>
              </a:buClr>
              <a:buSzPts val="2100"/>
              <a:buNone/>
              <a:defRPr>
                <a:solidFill>
                  <a:schemeClr val="lt1"/>
                </a:solidFill>
              </a:defRPr>
            </a:lvl8pPr>
            <a:lvl9pPr lvl="8" algn="r" rtl="0">
              <a:spcBef>
                <a:spcPts val="400"/>
              </a:spcBef>
              <a:spcAft>
                <a:spcPts val="0"/>
              </a:spcAft>
              <a:buClr>
                <a:schemeClr val="lt1"/>
              </a:buClr>
              <a:buSzPts val="2100"/>
              <a:buNone/>
              <a:defRPr>
                <a:solidFill>
                  <a:schemeClr val="lt1"/>
                </a:solidFill>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ustom Layout 1">
  <p:cSld name="CUSTOM">
    <p:spTree>
      <p:nvGrpSpPr>
        <p:cNvPr id="1" name="Shape 90"/>
        <p:cNvGrpSpPr/>
        <p:nvPr/>
      </p:nvGrpSpPr>
      <p:grpSpPr>
        <a:xfrm>
          <a:off x="0" y="0"/>
          <a:ext cx="0" cy="0"/>
          <a:chOff x="0" y="0"/>
          <a:chExt cx="0" cy="0"/>
        </a:xfrm>
      </p:grpSpPr>
      <p:sp>
        <p:nvSpPr>
          <p:cNvPr id="91" name="Google Shape;91;p8"/>
          <p:cNvSpPr>
            <a:spLocks noGrp="1"/>
          </p:cNvSpPr>
          <p:nvPr>
            <p:ph type="pic" idx="2"/>
          </p:nvPr>
        </p:nvSpPr>
        <p:spPr>
          <a:xfrm>
            <a:off x="10928200" y="0"/>
            <a:ext cx="7359900" cy="6115200"/>
          </a:xfrm>
          <a:prstGeom prst="rect">
            <a:avLst/>
          </a:prstGeom>
          <a:noFill/>
          <a:ln>
            <a:noFill/>
          </a:ln>
        </p:spPr>
      </p:sp>
      <p:cxnSp>
        <p:nvCxnSpPr>
          <p:cNvPr id="92" name="Google Shape;92;p8"/>
          <p:cNvCxnSpPr/>
          <p:nvPr/>
        </p:nvCxnSpPr>
        <p:spPr>
          <a:xfrm rot="10800000">
            <a:off x="75" y="6126175"/>
            <a:ext cx="18315300" cy="0"/>
          </a:xfrm>
          <a:prstGeom prst="straightConnector1">
            <a:avLst/>
          </a:prstGeom>
          <a:noFill/>
          <a:ln w="28575" cap="flat" cmpd="sng">
            <a:solidFill>
              <a:srgbClr val="000000"/>
            </a:solidFill>
            <a:prstDash val="solid"/>
            <a:round/>
            <a:headEnd type="none" w="sm" len="sm"/>
            <a:tailEnd type="none" w="sm" len="sm"/>
          </a:ln>
        </p:spPr>
      </p:cxnSp>
      <p:cxnSp>
        <p:nvCxnSpPr>
          <p:cNvPr id="93" name="Google Shape;93;p8"/>
          <p:cNvCxnSpPr/>
          <p:nvPr/>
        </p:nvCxnSpPr>
        <p:spPr>
          <a:xfrm rot="10800000">
            <a:off x="10942752" y="-78000"/>
            <a:ext cx="0" cy="10365000"/>
          </a:xfrm>
          <a:prstGeom prst="straightConnector1">
            <a:avLst/>
          </a:prstGeom>
          <a:noFill/>
          <a:ln w="28575" cap="flat" cmpd="sng">
            <a:solidFill>
              <a:srgbClr val="000000"/>
            </a:solidFill>
            <a:prstDash val="solid"/>
            <a:round/>
            <a:headEnd type="none" w="sm" len="sm"/>
            <a:tailEnd type="none" w="sm" len="sm"/>
          </a:ln>
        </p:spPr>
      </p:cxnSp>
      <p:grpSp>
        <p:nvGrpSpPr>
          <p:cNvPr id="94" name="Google Shape;94;p8"/>
          <p:cNvGrpSpPr/>
          <p:nvPr/>
        </p:nvGrpSpPr>
        <p:grpSpPr>
          <a:xfrm>
            <a:off x="0" y="6126182"/>
            <a:ext cx="10928538" cy="4161023"/>
            <a:chOff x="0" y="0"/>
            <a:chExt cx="2878279" cy="1095900"/>
          </a:xfrm>
        </p:grpSpPr>
        <p:sp>
          <p:nvSpPr>
            <p:cNvPr id="95" name="Google Shape;95;p8"/>
            <p:cNvSpPr/>
            <p:nvPr/>
          </p:nvSpPr>
          <p:spPr>
            <a:xfrm>
              <a:off x="0" y="0"/>
              <a:ext cx="2878279" cy="1095853"/>
            </a:xfrm>
            <a:custGeom>
              <a:avLst/>
              <a:gdLst/>
              <a:ahLst/>
              <a:cxnLst/>
              <a:rect l="l" t="t" r="r" b="b"/>
              <a:pathLst>
                <a:path w="2878279" h="1095853" extrusionOk="0">
                  <a:moveTo>
                    <a:pt x="0" y="0"/>
                  </a:moveTo>
                  <a:lnTo>
                    <a:pt x="2878279" y="0"/>
                  </a:lnTo>
                  <a:lnTo>
                    <a:pt x="2878279" y="1095853"/>
                  </a:lnTo>
                  <a:lnTo>
                    <a:pt x="0" y="1095853"/>
                  </a:lnTo>
                  <a:close/>
                </a:path>
              </a:pathLst>
            </a:custGeom>
            <a:solidFill>
              <a:srgbClr val="F8F9FB"/>
            </a:solidFill>
            <a:ln>
              <a:noFill/>
            </a:ln>
          </p:spPr>
        </p:sp>
        <p:sp>
          <p:nvSpPr>
            <p:cNvPr id="96" name="Google Shape;96;p8"/>
            <p:cNvSpPr txBox="1"/>
            <p:nvPr/>
          </p:nvSpPr>
          <p:spPr>
            <a:xfrm>
              <a:off x="0" y="38100"/>
              <a:ext cx="2878200" cy="10578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97" name="Google Shape;97;p8"/>
          <p:cNvSpPr txBox="1">
            <a:spLocks noGrp="1"/>
          </p:cNvSpPr>
          <p:nvPr>
            <p:ph type="subTitle" idx="1"/>
          </p:nvPr>
        </p:nvSpPr>
        <p:spPr>
          <a:xfrm>
            <a:off x="725250" y="446600"/>
            <a:ext cx="4714200" cy="687000"/>
          </a:xfrm>
          <a:prstGeom prst="rect">
            <a:avLst/>
          </a:prstGeom>
        </p:spPr>
        <p:txBody>
          <a:bodyPr spcFirstLastPara="1" wrap="square" lIns="0" tIns="0" rIns="0" bIns="0" anchor="t" anchorCtr="0">
            <a:noAutofit/>
          </a:bodyPr>
          <a:lstStyle>
            <a:lvl1pPr lvl="0">
              <a:spcBef>
                <a:spcPts val="640"/>
              </a:spcBef>
              <a:spcAft>
                <a:spcPts val="0"/>
              </a:spcAft>
              <a:buClr>
                <a:srgbClr val="0B6AE9"/>
              </a:buClr>
              <a:buSzPts val="3000"/>
              <a:buNone/>
              <a:defRPr>
                <a:solidFill>
                  <a:srgbClr val="0B6AE9"/>
                </a:solidFill>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
        <p:nvSpPr>
          <p:cNvPr id="98" name="Google Shape;98;p8"/>
          <p:cNvSpPr txBox="1">
            <a:spLocks noGrp="1"/>
          </p:cNvSpPr>
          <p:nvPr>
            <p:ph type="title"/>
          </p:nvPr>
        </p:nvSpPr>
        <p:spPr>
          <a:xfrm>
            <a:off x="687075" y="6859275"/>
            <a:ext cx="8893800" cy="1832100"/>
          </a:xfrm>
          <a:prstGeom prst="rect">
            <a:avLst/>
          </a:prstGeom>
        </p:spPr>
        <p:txBody>
          <a:bodyPr spcFirstLastPara="1" wrap="square" lIns="0" tIns="0" rIns="0" bIns="0" anchor="t" anchorCtr="0">
            <a:noAutofit/>
          </a:bodyPr>
          <a:lstStyle>
            <a:lvl1pPr lvl="0">
              <a:spcBef>
                <a:spcPts val="0"/>
              </a:spcBef>
              <a:spcAft>
                <a:spcPts val="0"/>
              </a:spcAft>
              <a:buSzPts val="9800"/>
              <a:buNone/>
              <a:defRPr sz="9800"/>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99" name="Google Shape;99;p8"/>
          <p:cNvSpPr txBox="1">
            <a:spLocks noGrp="1"/>
          </p:cNvSpPr>
          <p:nvPr>
            <p:ph type="subTitle" idx="3"/>
          </p:nvPr>
        </p:nvSpPr>
        <p:spPr>
          <a:xfrm>
            <a:off x="687075" y="9073175"/>
            <a:ext cx="7214400" cy="687000"/>
          </a:xfrm>
          <a:prstGeom prst="rect">
            <a:avLst/>
          </a:prstGeom>
        </p:spPr>
        <p:txBody>
          <a:bodyPr spcFirstLastPara="1" wrap="square" lIns="0" tIns="0" rIns="0" bIns="0" anchor="t" anchorCtr="0">
            <a:noAutofit/>
          </a:bodyPr>
          <a:lstStyle>
            <a:lvl1pPr lvl="0">
              <a:spcBef>
                <a:spcPts val="640"/>
              </a:spcBef>
              <a:spcAft>
                <a:spcPts val="0"/>
              </a:spcAft>
              <a:buSzPts val="3000"/>
              <a:buNone/>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0"/>
        <p:cNvGrpSpPr/>
        <p:nvPr/>
      </p:nvGrpSpPr>
      <p:grpSpPr>
        <a:xfrm>
          <a:off x="0" y="0"/>
          <a:ext cx="0" cy="0"/>
          <a:chOff x="0" y="0"/>
          <a:chExt cx="0" cy="0"/>
        </a:xfrm>
      </p:grpSpPr>
      <p:sp>
        <p:nvSpPr>
          <p:cNvPr id="101" name="Google Shape;101;p9"/>
          <p:cNvSpPr txBox="1">
            <a:spLocks noGrp="1"/>
          </p:cNvSpPr>
          <p:nvPr>
            <p:ph type="ctrTitle"/>
          </p:nvPr>
        </p:nvSpPr>
        <p:spPr>
          <a:xfrm>
            <a:off x="685800" y="2130425"/>
            <a:ext cx="77724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02" name="Google Shape;102;p9"/>
          <p:cNvSpPr txBox="1">
            <a:spLocks noGrp="1"/>
          </p:cNvSpPr>
          <p:nvPr>
            <p:ph type="subTitle" idx="1"/>
          </p:nvPr>
        </p:nvSpPr>
        <p:spPr>
          <a:xfrm>
            <a:off x="1371600" y="3886200"/>
            <a:ext cx="64008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03" name="Google Shape;103;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 name="Google Shape;104;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 name="Google Shape;105;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06"/>
        <p:cNvGrpSpPr/>
        <p:nvPr/>
      </p:nvGrpSpPr>
      <p:grpSpPr>
        <a:xfrm>
          <a:off x="0" y="0"/>
          <a:ext cx="0" cy="0"/>
          <a:chOff x="0" y="0"/>
          <a:chExt cx="0" cy="0"/>
        </a:xfrm>
      </p:grpSpPr>
      <p:sp>
        <p:nvSpPr>
          <p:cNvPr id="107" name="Google Shape;107;p10"/>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08" name="Google Shape;108;p10"/>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09" name="Google Shape;109;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1" name="Google Shape;111;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2"/>
        <p:cNvGrpSpPr/>
        <p:nvPr/>
      </p:nvGrpSpPr>
      <p:grpSpPr>
        <a:xfrm>
          <a:off x="0" y="0"/>
          <a:ext cx="0" cy="0"/>
          <a:chOff x="0" y="0"/>
          <a:chExt cx="0" cy="0"/>
        </a:xfrm>
      </p:grpSpPr>
      <p:sp>
        <p:nvSpPr>
          <p:cNvPr id="113" name="Google Shape;113;p11"/>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14" name="Google Shape;114;p11"/>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115" name="Google Shape;115;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9.xml"/><Relationship Id="rId7"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274638"/>
            <a:ext cx="8229600" cy="1143000"/>
          </a:xfrm>
          <a:prstGeom prst="rect">
            <a:avLst/>
          </a:prstGeom>
          <a:noFill/>
          <a:ln>
            <a:noFill/>
          </a:ln>
        </p:spPr>
        <p:txBody>
          <a:bodyPr spcFirstLastPara="1" wrap="square" lIns="0" tIns="0" rIns="0" bIns="0" anchor="ctr" anchorCtr="0">
            <a:noAutofit/>
          </a:bodyPr>
          <a:lstStyle>
            <a:lvl1pPr marR="0" lvl="0" rtl="0">
              <a:spcBef>
                <a:spcPts val="0"/>
              </a:spcBef>
              <a:spcAft>
                <a:spcPts val="0"/>
              </a:spcAft>
              <a:buClr>
                <a:srgbClr val="0B6AE9"/>
              </a:buClr>
              <a:buSzPts val="6500"/>
              <a:buFont typeface="Old Standard TT"/>
              <a:buNone/>
              <a:defRPr sz="6500" i="0" u="none" strike="noStrike" cap="none">
                <a:solidFill>
                  <a:srgbClr val="0B6AE9"/>
                </a:solidFill>
                <a:latin typeface="Old Standard TT"/>
                <a:ea typeface="Old Standard TT"/>
                <a:cs typeface="Old Standard TT"/>
                <a:sym typeface="Old Standard TT"/>
              </a:defRPr>
            </a:lvl1pPr>
            <a:lvl2pPr lvl="1">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2pPr>
            <a:lvl3pPr lvl="2">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3pPr>
            <a:lvl4pPr lvl="3">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4pPr>
            <a:lvl5pPr lvl="4">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5pPr>
            <a:lvl6pPr lvl="5">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6pPr>
            <a:lvl7pPr lvl="6">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7pPr>
            <a:lvl8pPr lvl="7">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8pPr>
            <a:lvl9pPr lvl="8">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9pPr>
          </a:lstStyle>
          <a:p>
            <a:endParaRPr/>
          </a:p>
        </p:txBody>
      </p:sp>
      <p:sp>
        <p:nvSpPr>
          <p:cNvPr id="7" name="Google Shape;7;p1"/>
          <p:cNvSpPr txBox="1">
            <a:spLocks noGrp="1"/>
          </p:cNvSpPr>
          <p:nvPr>
            <p:ph type="body" idx="1"/>
          </p:nvPr>
        </p:nvSpPr>
        <p:spPr>
          <a:xfrm>
            <a:off x="457200" y="1600200"/>
            <a:ext cx="8229600" cy="4525963"/>
          </a:xfrm>
          <a:prstGeom prst="rect">
            <a:avLst/>
          </a:prstGeom>
          <a:noFill/>
          <a:ln>
            <a:noFill/>
          </a:ln>
        </p:spPr>
        <p:txBody>
          <a:bodyPr spcFirstLastPara="1" wrap="square" lIns="0" tIns="0" rIns="0" bIns="0" anchor="t" anchorCtr="0">
            <a:noAutofit/>
          </a:bodyPr>
          <a:lstStyle>
            <a:lvl1pPr marL="457200" marR="0" lvl="0" indent="-419100" algn="l" rtl="0">
              <a:spcBef>
                <a:spcPts val="640"/>
              </a:spcBef>
              <a:spcAft>
                <a:spcPts val="0"/>
              </a:spcAft>
              <a:buClr>
                <a:schemeClr val="dk1"/>
              </a:buClr>
              <a:buSzPts val="3000"/>
              <a:buFont typeface="Open Sans"/>
              <a:buChar char="•"/>
              <a:defRPr sz="3000" i="0" u="none" strike="noStrike" cap="none">
                <a:solidFill>
                  <a:schemeClr val="dk1"/>
                </a:solidFill>
                <a:latin typeface="Open Sans"/>
                <a:ea typeface="Open Sans"/>
                <a:cs typeface="Open Sans"/>
                <a:sym typeface="Open Sans"/>
              </a:defRPr>
            </a:lvl1pPr>
            <a:lvl2pPr marL="914400" marR="0" lvl="1" indent="-361950" algn="l" rtl="0">
              <a:spcBef>
                <a:spcPts val="56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2pPr>
            <a:lvl3pPr marL="1371600" marR="0" lvl="2" indent="-361950" algn="l" rtl="0">
              <a:spcBef>
                <a:spcPts val="48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3pPr>
            <a:lvl4pPr marL="1828800" marR="0" lvl="3"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4pPr>
            <a:lvl5pPr marL="2286000" marR="0" lvl="4"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5pPr>
            <a:lvl6pPr marL="2743200" marR="0" lvl="5"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6pPr>
            <a:lvl7pPr marL="3200400" marR="0" lvl="6"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7pPr>
            <a:lvl8pPr marL="3657600" marR="0" lvl="7"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8pPr>
            <a:lvl9pPr marL="4114800" marR="0" lvl="8"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2931" y="2383"/>
          <a:ext cx="2930" cy="2381"/>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5" name="Object 1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31" y="2383"/>
                        <a:ext cx="2930" cy="23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44062" y="243000"/>
            <a:ext cx="16602092" cy="12474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504950"/>
            <a:ext cx="18288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2100">
              <a:solidFill>
                <a:srgbClr val="000000"/>
              </a:solidFill>
            </a:endParaRPr>
          </a:p>
        </p:txBody>
      </p:sp>
      <p:sp>
        <p:nvSpPr>
          <p:cNvPr id="10" name="TextBox 9"/>
          <p:cNvSpPr txBox="1"/>
          <p:nvPr/>
        </p:nvSpPr>
        <p:spPr>
          <a:xfrm>
            <a:off x="17093908" y="10011600"/>
            <a:ext cx="351692" cy="190500"/>
          </a:xfrm>
          <a:prstGeom prst="rect">
            <a:avLst/>
          </a:prstGeom>
          <a:noFill/>
          <a:ln/>
          <a:effectLst/>
        </p:spPr>
        <p:txBody>
          <a:bodyPr wrap="none" lIns="0" tIns="0" rIns="0" bIns="0" rtlCol="0">
            <a:noAutofit/>
          </a:bodyPr>
          <a:lstStyle/>
          <a:p>
            <a:pPr algn="r">
              <a:defRPr/>
            </a:pPr>
            <a:fld id="{9D53E389-1311-4796-9190-1F74A8EADEA2}" type="slidenum">
              <a:rPr lang="en-US" sz="1350">
                <a:solidFill>
                  <a:srgbClr val="000000"/>
                </a:solidFill>
              </a:rPr>
              <a:pPr algn="r">
                <a:defRPr/>
              </a:pPr>
              <a:t>‹#›</a:t>
            </a:fld>
            <a:endParaRPr lang="en-US" sz="1350">
              <a:solidFill>
                <a:srgbClr val="000000"/>
              </a:solidFill>
            </a:endParaRPr>
          </a:p>
          <a:p>
            <a:endParaRPr lang="en-US" sz="1350" dirty="0">
              <a:solidFill>
                <a:srgbClr val="000000"/>
              </a:solidFill>
            </a:endParaRPr>
          </a:p>
        </p:txBody>
      </p:sp>
      <p:sp>
        <p:nvSpPr>
          <p:cNvPr id="13" name="Text Placeholder 12"/>
          <p:cNvSpPr>
            <a:spLocks noGrp="1"/>
          </p:cNvSpPr>
          <p:nvPr>
            <p:ph type="body" idx="1"/>
          </p:nvPr>
        </p:nvSpPr>
        <p:spPr>
          <a:xfrm>
            <a:off x="844062" y="2263140"/>
            <a:ext cx="16611131" cy="688543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44334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hf sldNum="0" hdr="0"/>
  <p:txStyles>
    <p:titleStyle>
      <a:lvl1pPr algn="l" defTabSz="1371600" rtl="0" eaLnBrk="1" latinLnBrk="0" hangingPunct="1">
        <a:spcBef>
          <a:spcPct val="0"/>
        </a:spcBef>
        <a:buNone/>
        <a:defRPr sz="3600" b="1" kern="1200">
          <a:solidFill>
            <a:schemeClr val="tx2"/>
          </a:solidFill>
          <a:latin typeface="+mj-lt"/>
          <a:ea typeface="+mj-ea"/>
          <a:cs typeface="+mj-cs"/>
        </a:defRPr>
      </a:lvl1pPr>
    </p:titleStyle>
    <p:bodyStyle>
      <a:lvl1pPr marL="0" indent="0" algn="l" defTabSz="1371600" rtl="0" eaLnBrk="1" latinLnBrk="0" hangingPunct="1">
        <a:spcBef>
          <a:spcPts val="576"/>
        </a:spcBef>
        <a:buFontTx/>
        <a:buNone/>
        <a:defRPr sz="2400" b="1" kern="1200">
          <a:solidFill>
            <a:schemeClr val="tx1"/>
          </a:solidFill>
          <a:latin typeface="+mn-lt"/>
          <a:ea typeface="+mn-ea"/>
          <a:cs typeface="+mn-cs"/>
        </a:defRPr>
      </a:lvl1pPr>
      <a:lvl2pPr marL="685800" indent="-342900"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2pPr>
      <a:lvl3pPr marL="1371600" indent="-342900"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3pPr>
      <a:lvl4pPr marL="2064545" indent="-350043"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4pPr>
      <a:lvl5pPr marL="3088482" indent="-345282"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5pPr>
      <a:lvl6pPr marL="37719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577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435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8293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8.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8.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8.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Layout" Target="../slideLayouts/slideLayout20.xml"/><Relationship Id="rId1" Type="http://schemas.openxmlformats.org/officeDocument/2006/relationships/tags" Target="../tags/tag4.xml"/><Relationship Id="rId6" Type="http://schemas.openxmlformats.org/officeDocument/2006/relationships/hyperlink" Target="https://www.google.com/url?q=https%3A%2F%2Flink.springer.com%2Farticle%2F10.1007%2Fs11116-020-10163-3" TargetMode="External"/><Relationship Id="rId5" Type="http://schemas.openxmlformats.org/officeDocument/2006/relationships/hyperlink" Target="https://www.google.com/url?q=https%3A%2F%2Flink.springer.com%2Farticle%2F10.1007%2Fs10660-024-09828-3" TargetMode="External"/><Relationship Id="rId4" Type="http://schemas.openxmlformats.org/officeDocument/2006/relationships/hyperlink" Target="https://www.google.com/url?q=https%3A%2F%2Flink.springer.com%2Farticle%2F10.1007%2Fs10660-024-09879-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8.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8.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8.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sp>
        <p:nvSpPr>
          <p:cNvPr id="169" name="Google Shape;169;p19"/>
          <p:cNvSpPr/>
          <p:nvPr/>
        </p:nvSpPr>
        <p:spPr>
          <a:xfrm>
            <a:off x="0" y="14288"/>
            <a:ext cx="18288000" cy="10287000"/>
          </a:xfrm>
          <a:custGeom>
            <a:avLst/>
            <a:gdLst/>
            <a:ahLst/>
            <a:cxnLst/>
            <a:rect l="l" t="t" r="r" b="b"/>
            <a:pathLst>
              <a:path w="18288000" h="10287000" extrusionOk="0">
                <a:moveTo>
                  <a:pt x="0" y="0"/>
                </a:moveTo>
                <a:lnTo>
                  <a:pt x="18288000" y="0"/>
                </a:lnTo>
                <a:lnTo>
                  <a:pt x="18288000" y="10287000"/>
                </a:lnTo>
                <a:lnTo>
                  <a:pt x="0" y="10287000"/>
                </a:lnTo>
                <a:lnTo>
                  <a:pt x="0" y="0"/>
                </a:lnTo>
                <a:close/>
              </a:path>
            </a:pathLst>
          </a:custGeom>
          <a:blipFill rotWithShape="1">
            <a:blip r:embed="rId3">
              <a:alphaModFix/>
            </a:blip>
            <a:stretch>
              <a:fillRect t="-110" b="-110"/>
            </a:stretch>
          </a:blipFill>
          <a:ln>
            <a:noFill/>
          </a:ln>
        </p:spPr>
      </p:sp>
      <p:grpSp>
        <p:nvGrpSpPr>
          <p:cNvPr id="170" name="Google Shape;170;p19"/>
          <p:cNvGrpSpPr/>
          <p:nvPr/>
        </p:nvGrpSpPr>
        <p:grpSpPr>
          <a:xfrm>
            <a:off x="6885894" y="2106196"/>
            <a:ext cx="11554506" cy="3635246"/>
            <a:chOff x="0" y="0"/>
            <a:chExt cx="3043162" cy="957431"/>
          </a:xfrm>
        </p:grpSpPr>
        <p:sp>
          <p:nvSpPr>
            <p:cNvPr id="171" name="Google Shape;171;p19"/>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FFFFFF">
                <a:alpha val="50588"/>
              </a:srgbClr>
            </a:solidFill>
            <a:ln>
              <a:noFill/>
            </a:ln>
          </p:spPr>
        </p:sp>
        <p:sp>
          <p:nvSpPr>
            <p:cNvPr id="172" name="Google Shape;172;p19"/>
            <p:cNvSpPr txBox="1"/>
            <p:nvPr/>
          </p:nvSpPr>
          <p:spPr>
            <a:xfrm>
              <a:off x="0" y="38100"/>
              <a:ext cx="3043162" cy="919331"/>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173" name="Google Shape;173;p19"/>
          <p:cNvGrpSpPr/>
          <p:nvPr/>
        </p:nvGrpSpPr>
        <p:grpSpPr>
          <a:xfrm>
            <a:off x="6733494" y="1953796"/>
            <a:ext cx="11554506" cy="3635246"/>
            <a:chOff x="0" y="0"/>
            <a:chExt cx="3043162" cy="957431"/>
          </a:xfrm>
          <a:solidFill>
            <a:srgbClr val="004C22"/>
          </a:solidFill>
        </p:grpSpPr>
        <p:sp>
          <p:nvSpPr>
            <p:cNvPr id="174" name="Google Shape;174;p19"/>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grpFill/>
            <a:ln>
              <a:noFill/>
            </a:ln>
          </p:spPr>
        </p:sp>
        <p:sp>
          <p:nvSpPr>
            <p:cNvPr id="175" name="Google Shape;175;p19"/>
            <p:cNvSpPr txBox="1"/>
            <p:nvPr/>
          </p:nvSpPr>
          <p:spPr>
            <a:xfrm>
              <a:off x="0" y="38100"/>
              <a:ext cx="3043162" cy="919331"/>
            </a:xfrm>
            <a:prstGeom prst="rect">
              <a:avLst/>
            </a:prstGeom>
            <a:grp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176" name="Google Shape;176;p19"/>
          <p:cNvGrpSpPr/>
          <p:nvPr/>
        </p:nvGrpSpPr>
        <p:grpSpPr>
          <a:xfrm>
            <a:off x="0" y="0"/>
            <a:ext cx="1028700" cy="10301288"/>
            <a:chOff x="0" y="0"/>
            <a:chExt cx="270933" cy="2709333"/>
          </a:xfrm>
          <a:solidFill>
            <a:srgbClr val="004C22"/>
          </a:solidFill>
        </p:grpSpPr>
        <p:sp>
          <p:nvSpPr>
            <p:cNvPr id="177" name="Google Shape;177;p19"/>
            <p:cNvSpPr/>
            <p:nvPr/>
          </p:nvSpPr>
          <p:spPr>
            <a:xfrm>
              <a:off x="0" y="0"/>
              <a:ext cx="270933" cy="2709333"/>
            </a:xfrm>
            <a:custGeom>
              <a:avLst/>
              <a:gdLst/>
              <a:ahLst/>
              <a:cxnLst/>
              <a:rect l="l" t="t" r="r" b="b"/>
              <a:pathLst>
                <a:path w="270933" h="2709333" extrusionOk="0">
                  <a:moveTo>
                    <a:pt x="0" y="0"/>
                  </a:moveTo>
                  <a:lnTo>
                    <a:pt x="270933" y="0"/>
                  </a:lnTo>
                  <a:lnTo>
                    <a:pt x="270933" y="2709333"/>
                  </a:lnTo>
                  <a:lnTo>
                    <a:pt x="0" y="2709333"/>
                  </a:lnTo>
                  <a:close/>
                </a:path>
              </a:pathLst>
            </a:custGeom>
            <a:grpFill/>
            <a:ln>
              <a:noFill/>
            </a:ln>
          </p:spPr>
        </p:sp>
        <p:sp>
          <p:nvSpPr>
            <p:cNvPr id="178" name="Google Shape;178;p19"/>
            <p:cNvSpPr txBox="1"/>
            <p:nvPr/>
          </p:nvSpPr>
          <p:spPr>
            <a:xfrm>
              <a:off x="0" y="38100"/>
              <a:ext cx="270933" cy="2671233"/>
            </a:xfrm>
            <a:prstGeom prst="rect">
              <a:avLst/>
            </a:prstGeom>
            <a:grp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rgbClr val="92D050"/>
                </a:solidFill>
                <a:latin typeface="Calibri"/>
                <a:ea typeface="Calibri"/>
                <a:cs typeface="Calibri"/>
                <a:sym typeface="Calibri"/>
              </a:endParaRPr>
            </a:p>
          </p:txBody>
        </p:sp>
      </p:grpSp>
      <p:sp>
        <p:nvSpPr>
          <p:cNvPr id="179" name="Google Shape;179;p19"/>
          <p:cNvSpPr txBox="1"/>
          <p:nvPr/>
        </p:nvSpPr>
        <p:spPr>
          <a:xfrm>
            <a:off x="7798299" y="4265504"/>
            <a:ext cx="6344875" cy="694806"/>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500" b="0" i="0" u="none" strike="noStrike" cap="none" dirty="0">
                <a:solidFill>
                  <a:srgbClr val="FFFFFF"/>
                </a:solidFill>
                <a:latin typeface="Open Sans"/>
                <a:ea typeface="Open Sans"/>
                <a:cs typeface="Open Sans"/>
                <a:sym typeface="Open Sans"/>
              </a:rPr>
              <a:t>By: Mochamad Aditya Putra</a:t>
            </a:r>
            <a:endParaRPr dirty="0"/>
          </a:p>
        </p:txBody>
      </p:sp>
      <p:sp>
        <p:nvSpPr>
          <p:cNvPr id="180" name="Google Shape;180;p19"/>
          <p:cNvSpPr txBox="1"/>
          <p:nvPr/>
        </p:nvSpPr>
        <p:spPr>
          <a:xfrm>
            <a:off x="7798299" y="2324119"/>
            <a:ext cx="10075364" cy="1588127"/>
          </a:xfrm>
          <a:prstGeom prst="rect">
            <a:avLst/>
          </a:prstGeom>
          <a:noFill/>
          <a:ln>
            <a:noFill/>
          </a:ln>
        </p:spPr>
        <p:txBody>
          <a:bodyPr spcFirstLastPara="1" wrap="square" lIns="0" tIns="0" rIns="0" bIns="0" anchor="t" anchorCtr="0">
            <a:spAutoFit/>
          </a:bodyPr>
          <a:lstStyle/>
          <a:p>
            <a:pPr marL="0" marR="0" lvl="0" indent="0" algn="l" rtl="0">
              <a:lnSpc>
                <a:spcPct val="129004"/>
              </a:lnSpc>
              <a:spcBef>
                <a:spcPts val="0"/>
              </a:spcBef>
              <a:spcAft>
                <a:spcPts val="0"/>
              </a:spcAft>
              <a:buNone/>
            </a:pPr>
            <a:r>
              <a:rPr lang="pt-BR" sz="4000" i="0" u="none" strike="noStrike" cap="none" dirty="0">
                <a:solidFill>
                  <a:srgbClr val="FFFFFF"/>
                </a:solidFill>
                <a:latin typeface="Old Standard TT"/>
                <a:ea typeface="Old Standard TT"/>
                <a:cs typeface="Old Standard TT"/>
                <a:sym typeface="Old Standard TT"/>
              </a:rPr>
              <a:t>Perbedaan utama dalam perilaku pembelian antara Web vs Catalog vs Store</a:t>
            </a:r>
            <a:endParaRPr lang="en-US" sz="4000" dirty="0">
              <a:latin typeface="Old Standard TT"/>
              <a:ea typeface="Old Standard TT"/>
              <a:cs typeface="Old Standard TT"/>
              <a:sym typeface="Old Standard TT"/>
            </a:endParaRPr>
          </a:p>
        </p:txBody>
      </p:sp>
      <p:sp>
        <p:nvSpPr>
          <p:cNvPr id="181" name="Google Shape;181;p19"/>
          <p:cNvSpPr txBox="1"/>
          <p:nvPr/>
        </p:nvSpPr>
        <p:spPr>
          <a:xfrm rot="-5400000">
            <a:off x="-1834634" y="7328059"/>
            <a:ext cx="4678919" cy="595548"/>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000" dirty="0">
                <a:solidFill>
                  <a:srgbClr val="FFFFFF"/>
                </a:solidFill>
                <a:latin typeface="Open Sans"/>
                <a:ea typeface="Open Sans"/>
                <a:cs typeface="Open Sans"/>
                <a:sym typeface="Open Sans"/>
              </a:rPr>
              <a:t>Supermarket Customer</a:t>
            </a:r>
            <a:endParaRPr dirty="0"/>
          </a:p>
        </p:txBody>
      </p:sp>
      <p:sp>
        <p:nvSpPr>
          <p:cNvPr id="182" name="Google Shape;182;p19"/>
          <p:cNvSpPr txBox="1"/>
          <p:nvPr/>
        </p:nvSpPr>
        <p:spPr>
          <a:xfrm rot="-5400000">
            <a:off x="-1049077" y="1656023"/>
            <a:ext cx="3107805" cy="595548"/>
          </a:xfrm>
          <a:prstGeom prst="rect">
            <a:avLst/>
          </a:prstGeom>
          <a:noFill/>
          <a:ln>
            <a:noFill/>
          </a:ln>
        </p:spPr>
        <p:txBody>
          <a:bodyPr spcFirstLastPara="1" wrap="square" lIns="0" tIns="0" rIns="0" bIns="0" anchor="t" anchorCtr="0">
            <a:spAutoFit/>
          </a:bodyPr>
          <a:lstStyle/>
          <a:p>
            <a:pPr marL="0" marR="0" lvl="0" indent="0" algn="r" rtl="0">
              <a:lnSpc>
                <a:spcPct val="129000"/>
              </a:lnSpc>
              <a:spcBef>
                <a:spcPts val="0"/>
              </a:spcBef>
              <a:spcAft>
                <a:spcPts val="0"/>
              </a:spcAft>
              <a:buNone/>
            </a:pPr>
            <a:r>
              <a:rPr lang="en-US" sz="3000" dirty="0">
                <a:solidFill>
                  <a:srgbClr val="FFFFFF"/>
                </a:solidFill>
                <a:latin typeface="Open Sans"/>
                <a:ea typeface="Open Sans"/>
                <a:cs typeface="Open Sans"/>
                <a:sym typeface="Open Sans"/>
              </a:rPr>
              <a:t>JCDSOL-015</a:t>
            </a:r>
            <a:endParaRPr dirty="0"/>
          </a:p>
        </p:txBody>
      </p:sp>
      <p:pic>
        <p:nvPicPr>
          <p:cNvPr id="3" name="Picture 2">
            <a:extLst>
              <a:ext uri="{FF2B5EF4-FFF2-40B4-BE49-F238E27FC236}">
                <a16:creationId xmlns:a16="http://schemas.microsoft.com/office/drawing/2014/main" id="{46CC12C2-C34F-4F77-F7EB-41104D139A88}"/>
              </a:ext>
            </a:extLst>
          </p:cNvPr>
          <p:cNvPicPr>
            <a:picLocks noChangeAspect="1"/>
          </p:cNvPicPr>
          <p:nvPr/>
        </p:nvPicPr>
        <p:blipFill>
          <a:blip r:embed="rId4"/>
          <a:stretch>
            <a:fillRect/>
          </a:stretch>
        </p:blipFill>
        <p:spPr>
          <a:xfrm>
            <a:off x="15621000" y="188109"/>
            <a:ext cx="2667000" cy="17145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3823424" y="2280531"/>
            <a:ext cx="9839325"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l"/>
            <a:r>
              <a:rPr lang="en-ID" sz="2000" b="0" i="0" dirty="0" err="1">
                <a:solidFill>
                  <a:srgbClr val="212121"/>
                </a:solidFill>
                <a:effectLst/>
                <a:highlight>
                  <a:srgbClr val="FFFFFF"/>
                </a:highlight>
                <a:latin typeface="+mj-lt"/>
              </a:rPr>
              <a:t>Berdasar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grafi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ibawah</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apat</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isimpul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bahwa</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tida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ada</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perbeda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alam</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karakteristi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emografis</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pelangg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berdasar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usia</a:t>
            </a:r>
            <a:r>
              <a:rPr lang="en-ID" sz="2000" dirty="0">
                <a:solidFill>
                  <a:srgbClr val="212121"/>
                </a:solidFill>
                <a:highlight>
                  <a:srgbClr val="FFFFFF"/>
                </a:highlight>
                <a:latin typeface="+mj-lt"/>
              </a:rPr>
              <a:t>.</a:t>
            </a:r>
            <a:endParaRPr lang="en-ID" sz="2000" b="0" i="0" dirty="0">
              <a:solidFill>
                <a:srgbClr val="212121"/>
              </a:solidFill>
              <a:effectLst/>
              <a:highlight>
                <a:srgbClr val="FFFFFF"/>
              </a:highlight>
              <a:latin typeface="+mj-lt"/>
            </a:endParaRPr>
          </a:p>
        </p:txBody>
      </p:sp>
      <p:sp>
        <p:nvSpPr>
          <p:cNvPr id="6" name="ColumnHeader"/>
          <p:cNvSpPr>
            <a:spLocks noChangeArrowheads="1"/>
          </p:cNvSpPr>
          <p:nvPr/>
        </p:nvSpPr>
        <p:spPr bwMode="gray">
          <a:xfrm>
            <a:off x="5216456" y="7352033"/>
            <a:ext cx="7053262" cy="5847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ID" sz="2000" b="1" dirty="0" err="1"/>
              <a:t>Relevansi</a:t>
            </a:r>
            <a:r>
              <a:rPr lang="en-ID" sz="2000" b="1" dirty="0"/>
              <a:t> </a:t>
            </a:r>
            <a:r>
              <a:rPr lang="en-ID" sz="2000" b="1" dirty="0" err="1"/>
              <a:t>terhadap</a:t>
            </a:r>
            <a:r>
              <a:rPr lang="en-ID" sz="2000" b="1" dirty="0"/>
              <a:t> </a:t>
            </a:r>
            <a:r>
              <a:rPr lang="en-ID" sz="2000" b="1" dirty="0" err="1"/>
              <a:t>produk</a:t>
            </a:r>
            <a:r>
              <a:rPr lang="en-ID" sz="2000" b="1" dirty="0"/>
              <a:t> Supermarket</a:t>
            </a:r>
            <a:r>
              <a:rPr lang="en-AU" sz="20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5397638" y="8686800"/>
            <a:ext cx="7492723" cy="1600200"/>
          </a:xfrm>
          <a:prstGeom prst="rect">
            <a:avLst/>
          </a:prstGeom>
          <a:noFill/>
          <a:ln w="9525" algn="ctr">
            <a:noFill/>
            <a:miter lim="800000"/>
            <a:headEnd type="none" w="lg" len="lg"/>
            <a:tailEnd type="none" w="lg" len="lg"/>
          </a:ln>
          <a:effectLst/>
        </p:spPr>
        <p:txBody>
          <a:bodyPr tIns="137160" bIns="137160"/>
          <a:lstStyle/>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i="0" dirty="0" err="1">
                <a:effectLst/>
                <a:highlight>
                  <a:srgbClr val="FFFFFF"/>
                </a:highlight>
              </a:rPr>
              <a:t>Variasi</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a:t>
            </a:r>
            <a:r>
              <a:rPr lang="en-ID" sz="2400" i="0" dirty="0" err="1">
                <a:effectLst/>
                <a:highlight>
                  <a:srgbClr val="FFFFFF"/>
                </a:highlight>
              </a:rPr>
              <a:t>pelanggan</a:t>
            </a:r>
            <a:r>
              <a:rPr lang="en-ID" sz="2400" i="0" dirty="0">
                <a:effectLst/>
                <a:highlight>
                  <a:srgbClr val="FFFFFF"/>
                </a:highlight>
              </a:rPr>
              <a:t> di </a:t>
            </a:r>
            <a:r>
              <a:rPr lang="en-ID" sz="2400" i="0" dirty="0" err="1">
                <a:effectLst/>
                <a:highlight>
                  <a:srgbClr val="FFFFFF"/>
                </a:highlight>
              </a:rPr>
              <a:t>setiap</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cenderung</a:t>
            </a:r>
            <a:r>
              <a:rPr lang="en-ID" sz="2400" i="0" dirty="0">
                <a:effectLst/>
                <a:highlight>
                  <a:srgbClr val="FFFFFF"/>
                </a:highlight>
              </a:rPr>
              <a:t> </a:t>
            </a:r>
            <a:r>
              <a:rPr lang="en-ID" sz="2400" i="0" dirty="0" err="1">
                <a:effectLst/>
                <a:highlight>
                  <a:srgbClr val="FFFFFF"/>
                </a:highlight>
              </a:rPr>
              <a:t>serupa</a:t>
            </a:r>
            <a:r>
              <a:rPr lang="en-ID" sz="2400" i="0" dirty="0">
                <a:effectLst/>
                <a:highlight>
                  <a:srgbClr val="FFFFFF"/>
                </a:highlight>
              </a:rPr>
              <a:t>. </a:t>
            </a:r>
            <a:r>
              <a:rPr lang="en-ID" sz="2400" i="0" dirty="0" err="1">
                <a:effectLst/>
                <a:highlight>
                  <a:srgbClr val="FFFFFF"/>
                </a:highlight>
              </a:rPr>
              <a:t>Artinya</a:t>
            </a:r>
            <a:r>
              <a:rPr lang="en-ID" sz="2400" i="0" dirty="0">
                <a:effectLst/>
                <a:highlight>
                  <a:srgbClr val="FFFFFF"/>
                </a:highlight>
              </a:rPr>
              <a:t>, di </a:t>
            </a:r>
            <a:r>
              <a:rPr lang="en-ID" sz="2400" i="0" dirty="0" err="1">
                <a:effectLst/>
                <a:highlight>
                  <a:srgbClr val="FFFFFF"/>
                </a:highlight>
              </a:rPr>
              <a:t>setiap</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terdapat</a:t>
            </a:r>
            <a:r>
              <a:rPr lang="en-ID" sz="2400" i="0" dirty="0">
                <a:effectLst/>
                <a:highlight>
                  <a:srgbClr val="FFFFFF"/>
                </a:highlight>
              </a:rPr>
              <a:t> </a:t>
            </a:r>
            <a:r>
              <a:rPr lang="en-ID" sz="2400" i="0" dirty="0" err="1">
                <a:effectLst/>
                <a:highlight>
                  <a:srgbClr val="FFFFFF"/>
                </a:highlight>
              </a:rPr>
              <a:t>pelangg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rentang</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yang </a:t>
            </a:r>
            <a:r>
              <a:rPr lang="en-ID" sz="2400" i="0" dirty="0" err="1">
                <a:effectLst/>
                <a:highlight>
                  <a:srgbClr val="FFFFFF"/>
                </a:highlight>
              </a:rPr>
              <a:t>cukup</a:t>
            </a:r>
            <a:r>
              <a:rPr lang="en-ID" sz="2400" i="0" dirty="0">
                <a:effectLst/>
                <a:highlight>
                  <a:srgbClr val="FFFFFF"/>
                </a:highlight>
              </a:rPr>
              <a:t> </a:t>
            </a:r>
            <a:r>
              <a:rPr lang="en-ID" sz="2400" i="0" dirty="0" err="1">
                <a:effectLst/>
                <a:highlight>
                  <a:srgbClr val="FFFFFF"/>
                </a:highlight>
              </a:rPr>
              <a:t>luas</a:t>
            </a:r>
            <a:r>
              <a:rPr lang="en-ID" sz="2400" i="0" dirty="0">
                <a:effectLst/>
                <a:highlight>
                  <a:srgbClr val="FFFFFF"/>
                </a:highlight>
              </a:rPr>
              <a:t>, </a:t>
            </a:r>
            <a:r>
              <a:rPr lang="en-ID" sz="2400" i="0" dirty="0" err="1">
                <a:effectLst/>
                <a:highlight>
                  <a:srgbClr val="FFFFFF"/>
                </a:highlight>
              </a:rPr>
              <a:t>mulai</a:t>
            </a:r>
            <a:r>
              <a:rPr lang="en-ID" sz="2400" i="0" dirty="0">
                <a:effectLst/>
                <a:highlight>
                  <a:srgbClr val="FFFFFF"/>
                </a:highlight>
              </a:rPr>
              <a:t> </a:t>
            </a:r>
            <a:r>
              <a:rPr lang="en-ID" sz="2400" i="0" dirty="0" err="1">
                <a:effectLst/>
                <a:highlight>
                  <a:srgbClr val="FFFFFF"/>
                </a:highlight>
              </a:rPr>
              <a:t>dari</a:t>
            </a:r>
            <a:r>
              <a:rPr lang="en-ID" sz="2400" i="0" dirty="0">
                <a:effectLst/>
                <a:highlight>
                  <a:srgbClr val="FFFFFF"/>
                </a:highlight>
              </a:rPr>
              <a:t> yang </a:t>
            </a:r>
            <a:r>
              <a:rPr lang="en-ID" sz="2400" i="0" dirty="0" err="1">
                <a:effectLst/>
                <a:highlight>
                  <a:srgbClr val="FFFFFF"/>
                </a:highlight>
              </a:rPr>
              <a:t>muda</a:t>
            </a:r>
            <a:r>
              <a:rPr lang="en-ID" sz="2400" i="0" dirty="0">
                <a:effectLst/>
                <a:highlight>
                  <a:srgbClr val="FFFFFF"/>
                </a:highlight>
              </a:rPr>
              <a:t> </a:t>
            </a:r>
            <a:r>
              <a:rPr lang="en-ID" sz="2400" i="0" dirty="0" err="1">
                <a:effectLst/>
                <a:highlight>
                  <a:srgbClr val="FFFFFF"/>
                </a:highlight>
              </a:rPr>
              <a:t>hingga</a:t>
            </a:r>
            <a:r>
              <a:rPr lang="en-ID" sz="2400" i="0" dirty="0">
                <a:effectLst/>
                <a:highlight>
                  <a:srgbClr val="FFFFFF"/>
                </a:highlight>
              </a:rPr>
              <a:t> yang </a:t>
            </a:r>
            <a:r>
              <a:rPr lang="en-ID" sz="2400" i="0" dirty="0" err="1">
                <a:effectLst/>
                <a:highlight>
                  <a:srgbClr val="FFFFFF"/>
                </a:highlight>
              </a:rPr>
              <a:t>tua</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rentang</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50 </a:t>
            </a:r>
            <a:r>
              <a:rPr lang="en-ID" sz="2400" i="0" dirty="0" err="1">
                <a:effectLst/>
                <a:highlight>
                  <a:srgbClr val="FFFFFF"/>
                </a:highlight>
              </a:rPr>
              <a:t>tahun</a:t>
            </a:r>
            <a:r>
              <a:rPr lang="en-ID" sz="2400" i="0" dirty="0">
                <a:effectLst/>
                <a:highlight>
                  <a:srgbClr val="FFFFFF"/>
                </a:highlight>
              </a:rPr>
              <a:t> paling </a:t>
            </a:r>
            <a:r>
              <a:rPr lang="en-ID" sz="2400" i="0" dirty="0" err="1">
                <a:effectLst/>
                <a:highlight>
                  <a:srgbClr val="FFFFFF"/>
                </a:highlight>
              </a:rPr>
              <a:t>mendominasi</a:t>
            </a:r>
            <a:r>
              <a:rPr lang="en-ID" sz="2400" i="0" dirty="0">
                <a:effectLst/>
                <a:highlight>
                  <a:srgbClr val="FFFFFF"/>
                </a:highlight>
              </a:rPr>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karakteristik</a:t>
            </a:r>
            <a:r>
              <a:rPr lang="en-AU" sz="1500" b="1" i="1" dirty="0">
                <a:latin typeface="Arial" pitchFamily="34" charset="0"/>
                <a:cs typeface="Arial" pitchFamily="34" charset="0"/>
              </a:rPr>
              <a:t> </a:t>
            </a:r>
            <a:r>
              <a:rPr lang="en-AU" sz="1500" b="1" i="1" dirty="0" err="1">
                <a:latin typeface="Arial" pitchFamily="34" charset="0"/>
                <a:cs typeface="Arial" pitchFamily="34" charset="0"/>
              </a:rPr>
              <a:t>demografis</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a:t>
            </a:r>
            <a:r>
              <a:rPr lang="en-AU" sz="1500" b="1" i="1" dirty="0" err="1">
                <a:latin typeface="Arial" pitchFamily="34" charset="0"/>
                <a:cs typeface="Arial" pitchFamily="34" charset="0"/>
              </a:rPr>
              <a:t>Usia</a:t>
            </a:r>
            <a:r>
              <a:rPr lang="en-AU" sz="1500" b="1" i="1" dirty="0">
                <a:latin typeface="Arial" pitchFamily="34" charset="0"/>
                <a:cs typeface="Arial" pitchFamily="34" charset="0"/>
              </a:rPr>
              <a:t>)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memilih</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9B67BD0F-C95A-5D00-EE3E-B41AE9DB9ABD}"/>
              </a:ext>
            </a:extLst>
          </p:cNvPr>
          <p:cNvSpPr>
            <a:spLocks noChangeArrowheads="1"/>
          </p:cNvSpPr>
          <p:nvPr/>
        </p:nvSpPr>
        <p:spPr bwMode="gray">
          <a:xfrm>
            <a:off x="9720262" y="12357563"/>
            <a:ext cx="7492723" cy="7089225"/>
          </a:xfrm>
          <a:prstGeom prst="rect">
            <a:avLst/>
          </a:prstGeom>
          <a:noFill/>
          <a:ln w="9525" algn="ctr">
            <a:noFill/>
            <a:miter lim="800000"/>
            <a:headEnd type="none" w="lg" len="lg"/>
            <a:tailEnd type="none" w="lg" len="lg"/>
          </a:ln>
          <a:effectLst/>
        </p:spPr>
        <p:txBody>
          <a:bodyPr tIns="137160" bIns="137160"/>
          <a:lstStyle/>
          <a:p>
            <a:pPr algn="l"/>
            <a:endParaRPr lang="en-ID" sz="2000" b="0" i="0" dirty="0">
              <a:solidFill>
                <a:srgbClr val="212121"/>
              </a:solidFill>
              <a:effectLst/>
              <a:highlight>
                <a:srgbClr val="FFFFFF"/>
              </a:highlight>
              <a:latin typeface="Roboto" panose="02000000000000000000" pitchFamily="2"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5" name="Rectangle 3">
            <a:extLst>
              <a:ext uri="{FF2B5EF4-FFF2-40B4-BE49-F238E27FC236}">
                <a16:creationId xmlns:a16="http://schemas.microsoft.com/office/drawing/2014/main" id="{DC07928E-857D-6CCB-BD5B-93127A11A0CD}"/>
              </a:ext>
            </a:extLst>
          </p:cNvPr>
          <p:cNvSpPr>
            <a:spLocks noChangeArrowheads="1"/>
          </p:cNvSpPr>
          <p:nvPr/>
        </p:nvSpPr>
        <p:spPr bwMode="auto">
          <a:xfrm>
            <a:off x="300038" y="8058843"/>
            <a:ext cx="17630775"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US" altLang="en-US" sz="2000" dirty="0" err="1">
                <a:solidFill>
                  <a:schemeClr val="tx1"/>
                </a:solidFill>
                <a:latin typeface="+mn-lt"/>
              </a:rPr>
              <a:t>Dapat</a:t>
            </a:r>
            <a:r>
              <a:rPr lang="en-US" altLang="en-US" sz="2000" dirty="0">
                <a:solidFill>
                  <a:schemeClr val="tx1"/>
                </a:solidFill>
                <a:latin typeface="+mn-lt"/>
              </a:rPr>
              <a:t> </a:t>
            </a:r>
            <a:r>
              <a:rPr lang="en-US" altLang="en-US" sz="2000" dirty="0" err="1">
                <a:solidFill>
                  <a:schemeClr val="tx1"/>
                </a:solidFill>
                <a:latin typeface="+mn-lt"/>
              </a:rPr>
              <a:t>kita</a:t>
            </a:r>
            <a:r>
              <a:rPr lang="en-US" altLang="en-US" sz="2000" dirty="0">
                <a:solidFill>
                  <a:schemeClr val="tx1"/>
                </a:solidFill>
                <a:latin typeface="+mn-lt"/>
              </a:rPr>
              <a:t> </a:t>
            </a:r>
            <a:r>
              <a:rPr lang="en-US" altLang="en-US" sz="2000" dirty="0" err="1">
                <a:solidFill>
                  <a:schemeClr val="tx1"/>
                </a:solidFill>
                <a:latin typeface="+mn-lt"/>
              </a:rPr>
              <a:t>lihat</a:t>
            </a:r>
            <a:r>
              <a:rPr lang="en-US" altLang="en-US" sz="2000" dirty="0">
                <a:solidFill>
                  <a:schemeClr val="tx1"/>
                </a:solidFill>
                <a:latin typeface="+mn-lt"/>
              </a:rPr>
              <a:t> </a:t>
            </a:r>
            <a:r>
              <a:rPr lang="en-US" altLang="en-US" sz="2000" dirty="0" err="1">
                <a:solidFill>
                  <a:schemeClr val="tx1"/>
                </a:solidFill>
                <a:latin typeface="+mn-lt"/>
              </a:rPr>
              <a:t>bahwa</a:t>
            </a:r>
            <a:r>
              <a:rPr lang="en-US" altLang="en-US" sz="2000" dirty="0">
                <a:solidFill>
                  <a:schemeClr val="tx1"/>
                </a:solidFill>
                <a:latin typeface="+mn-lt"/>
              </a:rPr>
              <a:t> </a:t>
            </a:r>
            <a:r>
              <a:rPr lang="en-US" altLang="en-US" sz="2000" dirty="0" err="1">
                <a:solidFill>
                  <a:schemeClr val="tx1"/>
                </a:solidFill>
                <a:latin typeface="+mn-lt"/>
              </a:rPr>
              <a:t>rentang</a:t>
            </a:r>
            <a:r>
              <a:rPr lang="en-US" altLang="en-US" sz="2000" dirty="0">
                <a:solidFill>
                  <a:schemeClr val="tx1"/>
                </a:solidFill>
                <a:latin typeface="+mn-lt"/>
              </a:rPr>
              <a:t> </a:t>
            </a:r>
            <a:r>
              <a:rPr lang="en-US" altLang="en-US" sz="2000" dirty="0" err="1">
                <a:solidFill>
                  <a:schemeClr val="tx1"/>
                </a:solidFill>
                <a:latin typeface="+mn-lt"/>
              </a:rPr>
              <a:t>usia</a:t>
            </a:r>
            <a:r>
              <a:rPr lang="en-US" altLang="en-US" sz="2000" dirty="0">
                <a:solidFill>
                  <a:schemeClr val="tx1"/>
                </a:solidFill>
                <a:latin typeface="+mn-lt"/>
              </a:rPr>
              <a:t> </a:t>
            </a:r>
            <a:r>
              <a:rPr lang="en-US" altLang="en-US" sz="2000" dirty="0" err="1">
                <a:solidFill>
                  <a:schemeClr val="tx1"/>
                </a:solidFill>
                <a:latin typeface="+mn-lt"/>
              </a:rPr>
              <a:t>pelanggan</a:t>
            </a:r>
            <a:r>
              <a:rPr lang="en-US" altLang="en-US" sz="2000" dirty="0">
                <a:solidFill>
                  <a:schemeClr val="tx1"/>
                </a:solidFill>
                <a:latin typeface="+mn-lt"/>
              </a:rPr>
              <a:t> Supermarket </a:t>
            </a:r>
            <a:r>
              <a:rPr lang="en-US" altLang="en-US" sz="2000" dirty="0" err="1">
                <a:solidFill>
                  <a:schemeClr val="tx1"/>
                </a:solidFill>
                <a:latin typeface="+mn-lt"/>
              </a:rPr>
              <a:t>berada</a:t>
            </a:r>
            <a:r>
              <a:rPr lang="en-US" altLang="en-US" sz="2000" dirty="0">
                <a:solidFill>
                  <a:schemeClr val="tx1"/>
                </a:solidFill>
                <a:latin typeface="+mn-lt"/>
              </a:rPr>
              <a:t> di </a:t>
            </a:r>
            <a:r>
              <a:rPr lang="en-US" altLang="en-US" sz="2000" dirty="0" err="1">
                <a:solidFill>
                  <a:schemeClr val="tx1"/>
                </a:solidFill>
                <a:latin typeface="+mn-lt"/>
              </a:rPr>
              <a:t>rentang</a:t>
            </a:r>
            <a:r>
              <a:rPr lang="en-US" altLang="en-US" sz="2000" dirty="0">
                <a:solidFill>
                  <a:schemeClr val="tx1"/>
                </a:solidFill>
                <a:latin typeface="+mn-lt"/>
              </a:rPr>
              <a:t> </a:t>
            </a:r>
            <a:r>
              <a:rPr lang="en-US" altLang="en-US" sz="2000" dirty="0" err="1">
                <a:solidFill>
                  <a:schemeClr val="tx1"/>
                </a:solidFill>
                <a:latin typeface="+mn-lt"/>
              </a:rPr>
              <a:t>usia</a:t>
            </a:r>
            <a:r>
              <a:rPr lang="en-US" altLang="en-US" sz="2000" dirty="0">
                <a:solidFill>
                  <a:schemeClr val="tx1"/>
                </a:solidFill>
                <a:latin typeface="+mn-lt"/>
              </a:rPr>
              <a:t> 25 – 75 </a:t>
            </a:r>
            <a:r>
              <a:rPr lang="en-US" altLang="en-US" sz="2000" dirty="0" err="1">
                <a:solidFill>
                  <a:schemeClr val="tx1"/>
                </a:solidFill>
                <a:latin typeface="+mn-lt"/>
              </a:rPr>
              <a:t>tahun</a:t>
            </a:r>
            <a:r>
              <a:rPr lang="en-US" altLang="en-US" sz="2000" dirty="0">
                <a:solidFill>
                  <a:schemeClr val="tx1"/>
                </a:solidFill>
                <a:latin typeface="+mn-lt"/>
              </a:rPr>
              <a:t>, Dimana </a:t>
            </a:r>
            <a:r>
              <a:rPr lang="en-US" altLang="en-US" sz="2000" dirty="0" err="1">
                <a:solidFill>
                  <a:schemeClr val="tx1"/>
                </a:solidFill>
                <a:latin typeface="+mn-lt"/>
              </a:rPr>
              <a:t>umur</a:t>
            </a:r>
            <a:r>
              <a:rPr lang="en-US" altLang="en-US" sz="2000" dirty="0">
                <a:solidFill>
                  <a:schemeClr val="tx1"/>
                </a:solidFill>
                <a:latin typeface="+mn-lt"/>
              </a:rPr>
              <a:t> 25 </a:t>
            </a:r>
            <a:r>
              <a:rPr lang="en-US" altLang="en-US" sz="2000" dirty="0" err="1">
                <a:solidFill>
                  <a:schemeClr val="tx1"/>
                </a:solidFill>
                <a:latin typeface="+mn-lt"/>
              </a:rPr>
              <a:t>tahun</a:t>
            </a:r>
            <a:r>
              <a:rPr lang="en-US" altLang="en-US" sz="2000" dirty="0">
                <a:solidFill>
                  <a:schemeClr val="tx1"/>
                </a:solidFill>
                <a:latin typeface="+mn-lt"/>
              </a:rPr>
              <a:t> </a:t>
            </a:r>
            <a:r>
              <a:rPr lang="en-US" altLang="en-US" sz="2000" dirty="0" err="1">
                <a:solidFill>
                  <a:schemeClr val="tx1"/>
                </a:solidFill>
                <a:latin typeface="+mn-lt"/>
              </a:rPr>
              <a:t>keatas</a:t>
            </a:r>
            <a:r>
              <a:rPr lang="en-US" altLang="en-US" sz="2000" dirty="0">
                <a:solidFill>
                  <a:schemeClr val="tx1"/>
                </a:solidFill>
                <a:latin typeface="+mn-lt"/>
              </a:rPr>
              <a:t> </a:t>
            </a:r>
            <a:r>
              <a:rPr lang="en-US" altLang="en-US" sz="2000" dirty="0" err="1">
                <a:solidFill>
                  <a:schemeClr val="tx1"/>
                </a:solidFill>
                <a:latin typeface="+mn-lt"/>
              </a:rPr>
              <a:t>cenderung</a:t>
            </a:r>
            <a:r>
              <a:rPr lang="en-US" altLang="en-US" sz="2000" dirty="0">
                <a:solidFill>
                  <a:schemeClr val="tx1"/>
                </a:solidFill>
                <a:latin typeface="+mn-lt"/>
              </a:rPr>
              <a:t> </a:t>
            </a:r>
            <a:r>
              <a:rPr lang="en-US" altLang="en-US" sz="2000" dirty="0" err="1">
                <a:solidFill>
                  <a:schemeClr val="tx1"/>
                </a:solidFill>
                <a:latin typeface="+mn-lt"/>
              </a:rPr>
              <a:t>mengkonsumsi</a:t>
            </a:r>
            <a:r>
              <a:rPr lang="en-US" altLang="en-US" sz="2000" dirty="0">
                <a:solidFill>
                  <a:schemeClr val="tx1"/>
                </a:solidFill>
                <a:latin typeface="+mn-lt"/>
              </a:rPr>
              <a:t> wine. Lalu </a:t>
            </a:r>
            <a:r>
              <a:rPr lang="en-US" altLang="en-US" sz="2000" dirty="0" err="1">
                <a:solidFill>
                  <a:schemeClr val="tx1"/>
                </a:solidFill>
                <a:latin typeface="+mn-lt"/>
              </a:rPr>
              <a:t>jika</a:t>
            </a:r>
            <a:r>
              <a:rPr lang="en-US" altLang="en-US" sz="2000" dirty="0">
                <a:solidFill>
                  <a:schemeClr val="tx1"/>
                </a:solidFill>
                <a:latin typeface="+mn-lt"/>
              </a:rPr>
              <a:t> </a:t>
            </a:r>
            <a:r>
              <a:rPr lang="en-US" altLang="en-US" sz="2000" dirty="0" err="1">
                <a:solidFill>
                  <a:schemeClr val="tx1"/>
                </a:solidFill>
                <a:latin typeface="+mn-lt"/>
              </a:rPr>
              <a:t>kita</a:t>
            </a:r>
            <a:r>
              <a:rPr lang="en-US" altLang="en-US" sz="2000" dirty="0">
                <a:solidFill>
                  <a:schemeClr val="tx1"/>
                </a:solidFill>
                <a:latin typeface="+mn-lt"/>
              </a:rPr>
              <a:t> </a:t>
            </a:r>
            <a:r>
              <a:rPr lang="en-US" altLang="en-US" sz="2000" dirty="0" err="1">
                <a:solidFill>
                  <a:schemeClr val="tx1"/>
                </a:solidFill>
                <a:latin typeface="+mn-lt"/>
              </a:rPr>
              <a:t>kaitkan</a:t>
            </a:r>
            <a:r>
              <a:rPr lang="en-US" altLang="en-US" sz="2000" dirty="0">
                <a:solidFill>
                  <a:schemeClr val="tx1"/>
                </a:solidFill>
                <a:latin typeface="+mn-lt"/>
              </a:rPr>
              <a:t> </a:t>
            </a:r>
            <a:r>
              <a:rPr lang="en-US" altLang="en-US" sz="2000" dirty="0" err="1">
                <a:solidFill>
                  <a:schemeClr val="tx1"/>
                </a:solidFill>
                <a:latin typeface="+mn-lt"/>
              </a:rPr>
              <a:t>dengan</a:t>
            </a:r>
            <a:r>
              <a:rPr lang="en-US" altLang="en-US" sz="2000" dirty="0">
                <a:solidFill>
                  <a:schemeClr val="tx1"/>
                </a:solidFill>
                <a:latin typeface="+mn-lt"/>
              </a:rPr>
              <a:t> </a:t>
            </a:r>
            <a:r>
              <a:rPr lang="en-US" altLang="en-US" sz="2000" dirty="0" err="1">
                <a:solidFill>
                  <a:schemeClr val="tx1"/>
                </a:solidFill>
                <a:latin typeface="+mn-lt"/>
              </a:rPr>
              <a:t>jenis</a:t>
            </a:r>
            <a:r>
              <a:rPr lang="en-US" altLang="en-US" sz="2000" dirty="0">
                <a:solidFill>
                  <a:schemeClr val="tx1"/>
                </a:solidFill>
                <a:latin typeface="+mn-lt"/>
              </a:rPr>
              <a:t> </a:t>
            </a:r>
            <a:r>
              <a:rPr lang="en-US" altLang="en-US" sz="2000" dirty="0" err="1">
                <a:solidFill>
                  <a:schemeClr val="tx1"/>
                </a:solidFill>
                <a:latin typeface="+mn-lt"/>
              </a:rPr>
              <a:t>produk</a:t>
            </a:r>
            <a:r>
              <a:rPr lang="en-US" altLang="en-US" sz="2000" dirty="0">
                <a:solidFill>
                  <a:schemeClr val="tx1"/>
                </a:solidFill>
                <a:latin typeface="+mn-lt"/>
              </a:rPr>
              <a:t> yang </a:t>
            </a:r>
            <a:r>
              <a:rPr lang="en-US" altLang="en-US" sz="2000" dirty="0" err="1">
                <a:solidFill>
                  <a:schemeClr val="tx1"/>
                </a:solidFill>
                <a:latin typeface="+mn-lt"/>
              </a:rPr>
              <a:t>sering</a:t>
            </a:r>
            <a:r>
              <a:rPr lang="en-US" altLang="en-US" sz="2000" dirty="0">
                <a:solidFill>
                  <a:schemeClr val="tx1"/>
                </a:solidFill>
                <a:latin typeface="+mn-lt"/>
              </a:rPr>
              <a:t> </a:t>
            </a:r>
            <a:r>
              <a:rPr lang="en-US" altLang="en-US" sz="2000" dirty="0" err="1">
                <a:solidFill>
                  <a:schemeClr val="tx1"/>
                </a:solidFill>
                <a:latin typeface="+mn-lt"/>
              </a:rPr>
              <a:t>dibeli</a:t>
            </a:r>
            <a:r>
              <a:rPr lang="en-US" altLang="en-US" sz="2000" dirty="0">
                <a:solidFill>
                  <a:schemeClr val="tx1"/>
                </a:solidFill>
                <a:latin typeface="+mn-lt"/>
              </a:rPr>
              <a:t> </a:t>
            </a:r>
            <a:r>
              <a:rPr lang="en-US" altLang="en-US" sz="2000" dirty="0" err="1">
                <a:solidFill>
                  <a:schemeClr val="tx1"/>
                </a:solidFill>
                <a:latin typeface="+mn-lt"/>
              </a:rPr>
              <a:t>pelanggan</a:t>
            </a:r>
            <a:r>
              <a:rPr lang="en-US" altLang="en-US" sz="2000" dirty="0">
                <a:solidFill>
                  <a:schemeClr val="tx1"/>
                </a:solidFill>
                <a:latin typeface="+mn-lt"/>
              </a:rPr>
              <a:t> </a:t>
            </a:r>
            <a:r>
              <a:rPr lang="en-US" altLang="en-US" sz="2000" dirty="0" err="1">
                <a:solidFill>
                  <a:schemeClr val="tx1"/>
                </a:solidFill>
                <a:latin typeface="+mn-lt"/>
              </a:rPr>
              <a:t>ini</a:t>
            </a:r>
            <a:r>
              <a:rPr lang="en-US" altLang="en-US" sz="2000" dirty="0">
                <a:solidFill>
                  <a:schemeClr val="tx1"/>
                </a:solidFill>
                <a:latin typeface="+mn-lt"/>
              </a:rPr>
              <a:t> </a:t>
            </a:r>
            <a:r>
              <a:rPr lang="en-US" altLang="en-US" sz="2000" dirty="0" err="1">
                <a:solidFill>
                  <a:schemeClr val="tx1"/>
                </a:solidFill>
                <a:latin typeface="+mn-lt"/>
              </a:rPr>
              <a:t>relevan</a:t>
            </a:r>
            <a:r>
              <a:rPr lang="en-US" altLang="en-US" sz="2000" dirty="0">
                <a:solidFill>
                  <a:schemeClr val="tx1"/>
                </a:solidFill>
                <a:latin typeface="+mn-lt"/>
              </a:rPr>
              <a:t> </a:t>
            </a:r>
            <a:r>
              <a:rPr lang="en-US" altLang="en-US" sz="2000" dirty="0" err="1">
                <a:solidFill>
                  <a:schemeClr val="tx1"/>
                </a:solidFill>
                <a:latin typeface="+mn-lt"/>
              </a:rPr>
              <a:t>karena</a:t>
            </a:r>
            <a:r>
              <a:rPr lang="en-US" altLang="en-US" sz="2000" dirty="0">
                <a:solidFill>
                  <a:schemeClr val="tx1"/>
                </a:solidFill>
                <a:latin typeface="+mn-lt"/>
              </a:rPr>
              <a:t> </a:t>
            </a:r>
            <a:r>
              <a:rPr lang="en-ID" sz="2000" b="0" i="0" dirty="0">
                <a:solidFill>
                  <a:srgbClr val="212121"/>
                </a:solidFill>
                <a:effectLst/>
                <a:highlight>
                  <a:srgbClr val="FFFFFF"/>
                </a:highlight>
                <a:latin typeface="+mn-lt"/>
              </a:rPr>
              <a:t>Wine sangat </a:t>
            </a:r>
            <a:r>
              <a:rPr lang="en-ID" sz="2000" b="0" i="0" dirty="0" err="1">
                <a:solidFill>
                  <a:srgbClr val="212121"/>
                </a:solidFill>
                <a:effectLst/>
                <a:highlight>
                  <a:srgbClr val="FFFFFF"/>
                </a:highlight>
                <a:latin typeface="+mn-lt"/>
              </a:rPr>
              <a:t>terintegra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alam</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uday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Erop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erutama</a:t>
            </a:r>
            <a:r>
              <a:rPr lang="en-ID" sz="2000" b="0" i="0" dirty="0">
                <a:solidFill>
                  <a:srgbClr val="212121"/>
                </a:solidFill>
                <a:effectLst/>
                <a:highlight>
                  <a:srgbClr val="FFFFFF"/>
                </a:highlight>
                <a:latin typeface="+mn-lt"/>
              </a:rPr>
              <a:t> di negara-negara </a:t>
            </a:r>
            <a:r>
              <a:rPr lang="en-ID" sz="2000" b="0" i="0" dirty="0" err="1">
                <a:solidFill>
                  <a:srgbClr val="212121"/>
                </a:solidFill>
                <a:effectLst/>
                <a:highlight>
                  <a:srgbClr val="FFFFFF"/>
                </a:highlight>
                <a:latin typeface="+mn-lt"/>
              </a:rPr>
              <a:t>Mediterania</a:t>
            </a:r>
            <a:r>
              <a:rPr lang="en-ID" sz="2000" b="0" i="0" dirty="0">
                <a:solidFill>
                  <a:srgbClr val="212121"/>
                </a:solidFill>
                <a:effectLst/>
                <a:highlight>
                  <a:srgbClr val="FFFFFF"/>
                </a:highlight>
                <a:latin typeface="+mn-lt"/>
              </a:rPr>
              <a:t>, di mana wine </a:t>
            </a:r>
            <a:r>
              <a:rPr lang="en-ID" sz="2000" b="0" i="0" dirty="0" err="1">
                <a:solidFill>
                  <a:srgbClr val="212121"/>
                </a:solidFill>
                <a:effectLst/>
                <a:highlight>
                  <a:srgbClr val="FFFFFF"/>
                </a:highlight>
                <a:latin typeface="+mn-lt"/>
              </a:rPr>
              <a:t>sering</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ikonsum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sam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eng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akan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isalny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Prancis</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emiliki</a:t>
            </a:r>
            <a:r>
              <a:rPr lang="en-ID" sz="2000" b="0" i="0" dirty="0">
                <a:solidFill>
                  <a:srgbClr val="212121"/>
                </a:solidFill>
                <a:effectLst/>
                <a:highlight>
                  <a:srgbClr val="FFFFFF"/>
                </a:highlight>
                <a:latin typeface="+mn-lt"/>
              </a:rPr>
              <a:t> salah </a:t>
            </a:r>
            <a:r>
              <a:rPr lang="en-ID" sz="2000" b="0" i="0" dirty="0" err="1">
                <a:solidFill>
                  <a:srgbClr val="212121"/>
                </a:solidFill>
                <a:effectLst/>
                <a:highlight>
                  <a:srgbClr val="FFFFFF"/>
                </a:highlight>
                <a:latin typeface="+mn-lt"/>
              </a:rPr>
              <a:t>satu</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ingkat</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nsumsi</a:t>
            </a:r>
            <a:r>
              <a:rPr lang="en-ID" sz="2000" b="0" i="0" dirty="0">
                <a:solidFill>
                  <a:srgbClr val="212121"/>
                </a:solidFill>
                <a:effectLst/>
                <a:highlight>
                  <a:srgbClr val="FFFFFF"/>
                </a:highlight>
                <a:latin typeface="+mn-lt"/>
              </a:rPr>
              <a:t> wine per </a:t>
            </a:r>
            <a:r>
              <a:rPr lang="en-ID" sz="2000" b="0" i="0" dirty="0" err="1">
                <a:solidFill>
                  <a:srgbClr val="212121"/>
                </a:solidFill>
                <a:effectLst/>
                <a:highlight>
                  <a:srgbClr val="FFFFFF"/>
                </a:highlight>
                <a:latin typeface="+mn-lt"/>
              </a:rPr>
              <a:t>kapit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ertinggi</a:t>
            </a:r>
            <a:r>
              <a:rPr lang="en-ID" sz="2000" b="0" i="0" dirty="0">
                <a:solidFill>
                  <a:srgbClr val="212121"/>
                </a:solidFill>
                <a:effectLst/>
                <a:highlight>
                  <a:srgbClr val="FFFFFF"/>
                </a:highlight>
                <a:latin typeface="+mn-lt"/>
              </a:rPr>
              <a:t> di dunia, </a:t>
            </a:r>
            <a:r>
              <a:rPr lang="en-ID" sz="2000" b="0" i="0" dirty="0" err="1">
                <a:solidFill>
                  <a:srgbClr val="212121"/>
                </a:solidFill>
                <a:effectLst/>
                <a:highlight>
                  <a:srgbClr val="FFFFFF"/>
                </a:highlight>
                <a:latin typeface="+mn-lt"/>
              </a:rPr>
              <a:t>sekitar</a:t>
            </a:r>
            <a:r>
              <a:rPr lang="en-ID" sz="2000" b="0" i="0" dirty="0">
                <a:solidFill>
                  <a:srgbClr val="212121"/>
                </a:solidFill>
                <a:effectLst/>
                <a:highlight>
                  <a:srgbClr val="FFFFFF"/>
                </a:highlight>
                <a:latin typeface="+mn-lt"/>
              </a:rPr>
              <a:t> 43 </a:t>
            </a:r>
            <a:r>
              <a:rPr lang="en-ID" sz="2000" b="0" i="0" dirty="0" err="1">
                <a:solidFill>
                  <a:srgbClr val="212121"/>
                </a:solidFill>
                <a:effectLst/>
                <a:highlight>
                  <a:srgbClr val="FFFFFF"/>
                </a:highlight>
                <a:latin typeface="+mn-lt"/>
              </a:rPr>
              <a:t>liter</a:t>
            </a:r>
            <a:r>
              <a:rPr lang="en-ID" sz="2000" b="0" i="0" dirty="0">
                <a:solidFill>
                  <a:srgbClr val="212121"/>
                </a:solidFill>
                <a:effectLst/>
                <a:highlight>
                  <a:srgbClr val="FFFFFF"/>
                </a:highlight>
                <a:latin typeface="+mn-lt"/>
              </a:rPr>
              <a:t> per orang per </a:t>
            </a:r>
            <a:r>
              <a:rPr lang="en-ID" sz="2000" b="0" i="0" dirty="0" err="1">
                <a:solidFill>
                  <a:srgbClr val="212121"/>
                </a:solidFill>
                <a:effectLst/>
                <a:highlight>
                  <a:srgbClr val="FFFFFF"/>
                </a:highlight>
                <a:latin typeface="+mn-lt"/>
              </a:rPr>
              <a:t>tahun</a:t>
            </a:r>
            <a:r>
              <a:rPr lang="en-ID" sz="2000" b="0" i="0" dirty="0">
                <a:solidFill>
                  <a:srgbClr val="212121"/>
                </a:solidFill>
                <a:effectLst/>
                <a:highlight>
                  <a:srgbClr val="FFFFFF"/>
                </a:highlight>
                <a:latin typeface="+mn-lt"/>
              </a:rPr>
              <a:t>.  Di Amerika, Amerika </a:t>
            </a:r>
            <a:r>
              <a:rPr lang="en-ID" sz="2000" b="0" i="0" dirty="0" err="1">
                <a:solidFill>
                  <a:srgbClr val="212121"/>
                </a:solidFill>
                <a:effectLst/>
                <a:highlight>
                  <a:srgbClr val="FFFFFF"/>
                </a:highlight>
                <a:latin typeface="+mn-lt"/>
              </a:rPr>
              <a:t>Serikat</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adalah</a:t>
            </a:r>
            <a:r>
              <a:rPr lang="en-ID" sz="2000" b="0" i="0" dirty="0">
                <a:solidFill>
                  <a:srgbClr val="212121"/>
                </a:solidFill>
                <a:effectLst/>
                <a:highlight>
                  <a:srgbClr val="FFFFFF"/>
                </a:highlight>
                <a:latin typeface="+mn-lt"/>
              </a:rPr>
              <a:t> negara </a:t>
            </a:r>
            <a:r>
              <a:rPr lang="en-ID" sz="2000" b="0" i="0" dirty="0" err="1">
                <a:solidFill>
                  <a:srgbClr val="212121"/>
                </a:solidFill>
                <a:effectLst/>
                <a:highlight>
                  <a:srgbClr val="FFFFFF"/>
                </a:highlight>
                <a:latin typeface="+mn-lt"/>
              </a:rPr>
              <a:t>deng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nsumsi</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terbesar</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dasarkan</a:t>
            </a:r>
            <a:r>
              <a:rPr lang="en-ID" sz="2000" b="0" i="0" dirty="0">
                <a:solidFill>
                  <a:srgbClr val="212121"/>
                </a:solidFill>
                <a:effectLst/>
                <a:highlight>
                  <a:srgbClr val="FFFFFF"/>
                </a:highlight>
                <a:latin typeface="+mn-lt"/>
              </a:rPr>
              <a:t> volume. Pada </a:t>
            </a:r>
            <a:r>
              <a:rPr lang="en-ID" sz="2000" b="0" i="0" dirty="0" err="1">
                <a:solidFill>
                  <a:srgbClr val="212121"/>
                </a:solidFill>
                <a:effectLst/>
                <a:highlight>
                  <a:srgbClr val="FFFFFF"/>
                </a:highlight>
                <a:latin typeface="+mn-lt"/>
              </a:rPr>
              <a:t>tahun</a:t>
            </a:r>
            <a:r>
              <a:rPr lang="en-ID" sz="2000" b="0" i="0" dirty="0">
                <a:solidFill>
                  <a:srgbClr val="212121"/>
                </a:solidFill>
                <a:effectLst/>
                <a:highlight>
                  <a:srgbClr val="FFFFFF"/>
                </a:highlight>
                <a:latin typeface="+mn-lt"/>
              </a:rPr>
              <a:t> 2023, </a:t>
            </a:r>
            <a:r>
              <a:rPr lang="en-ID" sz="2000" b="0" i="0" dirty="0" err="1">
                <a:solidFill>
                  <a:srgbClr val="212121"/>
                </a:solidFill>
                <a:effectLst/>
                <a:highlight>
                  <a:srgbClr val="FFFFFF"/>
                </a:highlight>
                <a:latin typeface="+mn-lt"/>
              </a:rPr>
              <a:t>masyarakat</a:t>
            </a:r>
            <a:r>
              <a:rPr lang="en-ID" sz="2000" b="0" i="0" dirty="0">
                <a:solidFill>
                  <a:srgbClr val="212121"/>
                </a:solidFill>
                <a:effectLst/>
                <a:highlight>
                  <a:srgbClr val="FFFFFF"/>
                </a:highlight>
                <a:latin typeface="+mn-lt"/>
              </a:rPr>
              <a:t> Amerika </a:t>
            </a:r>
            <a:r>
              <a:rPr lang="en-ID" sz="2000" b="0" i="0" dirty="0" err="1">
                <a:solidFill>
                  <a:srgbClr val="212121"/>
                </a:solidFill>
                <a:effectLst/>
                <a:highlight>
                  <a:srgbClr val="FFFFFF"/>
                </a:highlight>
                <a:latin typeface="+mn-lt"/>
              </a:rPr>
              <a:t>mengonsum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lebih</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ari</a:t>
            </a:r>
            <a:r>
              <a:rPr lang="en-ID" sz="2000" b="0" i="0" dirty="0">
                <a:solidFill>
                  <a:srgbClr val="212121"/>
                </a:solidFill>
                <a:effectLst/>
                <a:highlight>
                  <a:srgbClr val="FFFFFF"/>
                </a:highlight>
                <a:latin typeface="+mn-lt"/>
              </a:rPr>
              <a:t> 431 </a:t>
            </a:r>
            <a:r>
              <a:rPr lang="en-ID" sz="2000" b="0" i="0" dirty="0" err="1">
                <a:solidFill>
                  <a:srgbClr val="212121"/>
                </a:solidFill>
                <a:effectLst/>
                <a:highlight>
                  <a:srgbClr val="FFFFFF"/>
                </a:highlight>
                <a:latin typeface="+mn-lt"/>
              </a:rPr>
              <a:t>jut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tak</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termasuk</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baga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jenis</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seperti</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biasa</a:t>
            </a:r>
            <a:r>
              <a:rPr lang="en-ID" sz="2000" b="0" i="0" dirty="0">
                <a:solidFill>
                  <a:srgbClr val="212121"/>
                </a:solidFill>
                <a:effectLst/>
                <a:highlight>
                  <a:srgbClr val="FFFFFF"/>
                </a:highlight>
                <a:latin typeface="+mn-lt"/>
              </a:rPr>
              <a:t>, sparkling, dan wine </a:t>
            </a:r>
            <a:r>
              <a:rPr lang="en-ID" sz="2000" b="0" i="0" dirty="0" err="1">
                <a:solidFill>
                  <a:srgbClr val="212121"/>
                </a:solidFill>
                <a:effectLst/>
                <a:highlight>
                  <a:srgbClr val="FFFFFF"/>
                </a:highlight>
                <a:latin typeface="+mn-lt"/>
              </a:rPr>
              <a:t>beraroma</a:t>
            </a:r>
            <a:r>
              <a:rPr lang="en-ID" sz="2000" b="0" i="0" dirty="0">
                <a:solidFill>
                  <a:srgbClr val="212121"/>
                </a:solidFill>
                <a:effectLst/>
                <a:highlight>
                  <a:srgbClr val="FFFFFF"/>
                </a:highlight>
                <a:latin typeface="+mn-lt"/>
              </a:rPr>
              <a:t>. </a:t>
            </a:r>
            <a:endParaRPr kumimoji="0" lang="en-US" altLang="en-US" sz="2000" b="0" i="0" u="none" strike="noStrike" cap="none" normalizeH="0" baseline="0" dirty="0">
              <a:ln>
                <a:noFill/>
              </a:ln>
              <a:solidFill>
                <a:schemeClr val="tx1"/>
              </a:solidFill>
              <a:effectLst/>
              <a:latin typeface="+mn-lt"/>
            </a:endParaRPr>
          </a:p>
        </p:txBody>
      </p:sp>
      <p:pic>
        <p:nvPicPr>
          <p:cNvPr id="10" name="Picture 9">
            <a:extLst>
              <a:ext uri="{FF2B5EF4-FFF2-40B4-BE49-F238E27FC236}">
                <a16:creationId xmlns:a16="http://schemas.microsoft.com/office/drawing/2014/main" id="{97B78749-F7F6-86A3-1875-05150B6A4D33}"/>
              </a:ext>
            </a:extLst>
          </p:cNvPr>
          <p:cNvPicPr>
            <a:picLocks noChangeAspect="1"/>
          </p:cNvPicPr>
          <p:nvPr/>
        </p:nvPicPr>
        <p:blipFill>
          <a:blip r:embed="rId3"/>
          <a:stretch>
            <a:fillRect/>
          </a:stretch>
        </p:blipFill>
        <p:spPr>
          <a:xfrm>
            <a:off x="-1" y="3655547"/>
            <a:ext cx="18288000" cy="3214021"/>
          </a:xfrm>
          <a:prstGeom prst="rect">
            <a:avLst/>
          </a:prstGeom>
        </p:spPr>
      </p:pic>
    </p:spTree>
    <p:extLst>
      <p:ext uri="{BB962C8B-B14F-4D97-AF65-F5344CB8AC3E}">
        <p14:creationId xmlns:p14="http://schemas.microsoft.com/office/powerpoint/2010/main" val="36563482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7" y="2452254"/>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a:t>Median </a:t>
            </a:r>
            <a:r>
              <a:rPr lang="en-ID" sz="2000" dirty="0" err="1"/>
              <a:t>pendapatan</a:t>
            </a:r>
            <a:r>
              <a:rPr lang="en-ID" sz="2000" dirty="0"/>
              <a:t> </a:t>
            </a:r>
            <a:r>
              <a:rPr lang="en-ID" sz="2000" dirty="0" err="1"/>
              <a:t>untuk</a:t>
            </a:r>
            <a:r>
              <a:rPr lang="en-ID" sz="2000" dirty="0"/>
              <a:t> </a:t>
            </a:r>
            <a:r>
              <a:rPr lang="en-ID" sz="2000" dirty="0" err="1"/>
              <a:t>ketiga</a:t>
            </a:r>
            <a:r>
              <a:rPr lang="en-ID" sz="2000" dirty="0"/>
              <a:t> </a:t>
            </a:r>
            <a:r>
              <a:rPr lang="en-ID" sz="2000" dirty="0" err="1"/>
              <a:t>kanal</a:t>
            </a:r>
            <a:r>
              <a:rPr lang="en-ID" sz="2000" dirty="0"/>
              <a:t> </a:t>
            </a:r>
            <a:r>
              <a:rPr lang="en-ID" sz="2000" dirty="0" err="1"/>
              <a:t>terlihat</a:t>
            </a:r>
            <a:r>
              <a:rPr lang="en-ID" sz="2000" dirty="0"/>
              <a:t> </a:t>
            </a:r>
            <a:r>
              <a:rPr lang="en-ID" sz="2000" dirty="0" err="1"/>
              <a:t>cukup</a:t>
            </a:r>
            <a:r>
              <a:rPr lang="en-ID" sz="2000" dirty="0"/>
              <a:t> </a:t>
            </a:r>
            <a:r>
              <a:rPr lang="en-ID" sz="2000" dirty="0" err="1"/>
              <a:t>mirip</a:t>
            </a:r>
            <a:r>
              <a:rPr lang="en-ID" sz="2000" dirty="0"/>
              <a:t>, </a:t>
            </a:r>
            <a:r>
              <a:rPr lang="en-ID" sz="2000" dirty="0" err="1"/>
              <a:t>mengindikasikan</a:t>
            </a:r>
            <a:r>
              <a:rPr lang="en-ID" sz="2000" dirty="0"/>
              <a:t> </a:t>
            </a:r>
            <a:r>
              <a:rPr lang="en-ID" sz="2000" dirty="0" err="1"/>
              <a:t>bahwa</a:t>
            </a:r>
            <a:r>
              <a:rPr lang="en-ID" sz="2000" dirty="0"/>
              <a:t> </a:t>
            </a:r>
            <a:r>
              <a:rPr lang="en-ID" sz="2000" dirty="0" err="1"/>
              <a:t>secara</a:t>
            </a:r>
            <a:r>
              <a:rPr lang="en-ID" sz="2000" dirty="0"/>
              <a:t> </a:t>
            </a:r>
            <a:r>
              <a:rPr lang="en-ID" sz="2000" dirty="0" err="1"/>
              <a:t>umum</a:t>
            </a:r>
            <a:r>
              <a:rPr lang="en-ID" sz="2000" dirty="0"/>
              <a:t>, </a:t>
            </a:r>
            <a:r>
              <a:rPr lang="en-ID" sz="2000" dirty="0" err="1"/>
              <a:t>tidak</a:t>
            </a:r>
            <a:r>
              <a:rPr lang="en-ID" sz="2000" dirty="0"/>
              <a:t> </a:t>
            </a:r>
            <a:r>
              <a:rPr lang="en-ID" sz="2000" dirty="0" err="1"/>
              <a:t>ada</a:t>
            </a:r>
            <a:r>
              <a:rPr lang="en-ID" sz="2000" dirty="0"/>
              <a:t> </a:t>
            </a:r>
            <a:r>
              <a:rPr lang="en-ID" sz="2000" dirty="0" err="1"/>
              <a:t>perbedaan</a:t>
            </a:r>
            <a:r>
              <a:rPr lang="en-ID" sz="2000" dirty="0"/>
              <a:t> yang </a:t>
            </a:r>
            <a:r>
              <a:rPr lang="en-ID" sz="2000" dirty="0" err="1"/>
              <a:t>signifikan</a:t>
            </a:r>
            <a:r>
              <a:rPr lang="en-ID" sz="2000" dirty="0"/>
              <a:t> </a:t>
            </a:r>
            <a:r>
              <a:rPr lang="en-ID" sz="2000" dirty="0" err="1"/>
              <a:t>dalam</a:t>
            </a:r>
            <a:r>
              <a:rPr lang="en-ID" sz="2000" dirty="0"/>
              <a:t> </a:t>
            </a:r>
            <a:r>
              <a:rPr lang="en-ID" sz="2000" dirty="0" err="1"/>
              <a:t>tingkat</a:t>
            </a:r>
            <a:r>
              <a:rPr lang="en-ID" sz="2000" dirty="0"/>
              <a:t> </a:t>
            </a:r>
            <a:r>
              <a:rPr lang="en-ID" sz="2000" dirty="0" err="1"/>
              <a:t>pendapatan</a:t>
            </a:r>
            <a:r>
              <a:rPr lang="en-ID" sz="2000" dirty="0"/>
              <a:t> rata-rata </a:t>
            </a:r>
            <a:r>
              <a:rPr lang="en-ID" sz="2000" dirty="0" err="1"/>
              <a:t>pelanggan</a:t>
            </a:r>
            <a:r>
              <a:rPr lang="en-ID" sz="2000" dirty="0"/>
              <a:t> di </a:t>
            </a:r>
            <a:r>
              <a:rPr lang="en-ID" sz="2000" dirty="0" err="1"/>
              <a:t>antara</a:t>
            </a:r>
            <a:r>
              <a:rPr lang="en-ID" sz="2000" dirty="0"/>
              <a:t> </a:t>
            </a:r>
            <a:r>
              <a:rPr lang="en-ID" sz="2000" dirty="0" err="1"/>
              <a:t>ketiga</a:t>
            </a:r>
            <a:r>
              <a:rPr lang="en-ID" sz="2000" dirty="0"/>
              <a:t> </a:t>
            </a:r>
            <a:r>
              <a:rPr lang="en-ID" sz="2000" dirty="0" err="1"/>
              <a:t>kanal</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36933" y="2944696"/>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tribusi</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ndapat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belian</a:t>
            </a:r>
            <a:r>
              <a:rPr lang="en-AU" sz="2400" b="1" kern="1200" dirty="0">
                <a:latin typeface="Arial" pitchFamily="34" charset="0"/>
                <a:ea typeface="+mn-ea"/>
                <a:cs typeface="Arial" pitchFamily="34" charset="0"/>
              </a:rPr>
              <a:t>:</a:t>
            </a:r>
          </a:p>
        </p:txBody>
      </p:sp>
      <p:sp>
        <p:nvSpPr>
          <p:cNvPr id="8" name="Title 1"/>
          <p:cNvSpPr>
            <a:spLocks noGrp="1"/>
          </p:cNvSpPr>
          <p:nvPr>
            <p:ph type="title"/>
          </p:nvPr>
        </p:nvSpPr>
        <p:spPr>
          <a:xfrm>
            <a:off x="2397920" y="199772"/>
            <a:ext cx="13489200" cy="1247400"/>
          </a:xfrm>
        </p:spPr>
        <p:txBody>
          <a:bodyPr/>
          <a:lstStyle/>
          <a:p>
            <a:r>
              <a:rPr lang="sv-SE" sz="2400" dirty="0"/>
              <a:t>Pendapatan bukan merupakan faktor utama dalam menentukan pilihan kanal pembelian pelanggan</a:t>
            </a:r>
            <a:r>
              <a:rPr lang="sv-SE" sz="1200" dirty="0"/>
              <a:t>. </a:t>
            </a:r>
            <a:r>
              <a:rPr lang="sv-SE" sz="2400" dirty="0"/>
              <a:t>Karena pada kanal pembelian Web, Catalog, dan Store pelanggan cenderung memiliki pendapatan dengan range 40.000 – 60.000.</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karakteristik</a:t>
            </a:r>
            <a:r>
              <a:rPr lang="en-AU" sz="1500" b="1" i="1" dirty="0">
                <a:latin typeface="Arial" pitchFamily="34" charset="0"/>
                <a:cs typeface="Arial" pitchFamily="34" charset="0"/>
              </a:rPr>
              <a:t> </a:t>
            </a:r>
            <a:r>
              <a:rPr lang="en-AU" sz="1500" b="1" i="1" dirty="0" err="1">
                <a:latin typeface="Arial" pitchFamily="34" charset="0"/>
                <a:cs typeface="Arial" pitchFamily="34" charset="0"/>
              </a:rPr>
              <a:t>demografis</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Income)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memilih</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36933" y="4403877"/>
            <a:ext cx="8181975" cy="4459136"/>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b="1" dirty="0" err="1"/>
              <a:t>Faktor</a:t>
            </a:r>
            <a:r>
              <a:rPr lang="en-ID" sz="2400" b="1" dirty="0"/>
              <a:t> Lain yang </a:t>
            </a:r>
            <a:r>
              <a:rPr lang="en-ID" sz="2400" b="1" dirty="0" err="1"/>
              <a:t>Mempengaruhi</a:t>
            </a:r>
            <a:r>
              <a:rPr lang="en-ID" sz="2400" b="1" dirty="0"/>
              <a:t>:</a:t>
            </a:r>
            <a:r>
              <a:rPr lang="en-ID" sz="2400" dirty="0"/>
              <a:t> </a:t>
            </a:r>
            <a:r>
              <a:rPr lang="en-ID" sz="2400" dirty="0" err="1"/>
              <a:t>Faktor</a:t>
            </a:r>
            <a:r>
              <a:rPr lang="en-ID" sz="2400" dirty="0"/>
              <a:t> lain </a:t>
            </a:r>
            <a:r>
              <a:rPr lang="en-ID" sz="2400" dirty="0" err="1"/>
              <a:t>seperti</a:t>
            </a:r>
            <a:r>
              <a:rPr lang="en-ID" sz="2400" dirty="0"/>
              <a:t> </a:t>
            </a:r>
            <a:r>
              <a:rPr lang="en-ID" sz="2400" dirty="0" err="1"/>
              <a:t>preferensi</a:t>
            </a:r>
            <a:r>
              <a:rPr lang="en-ID" sz="2400" dirty="0"/>
              <a:t> </a:t>
            </a:r>
            <a:r>
              <a:rPr lang="en-ID" sz="2400" dirty="0" err="1"/>
              <a:t>pribadi</a:t>
            </a:r>
            <a:r>
              <a:rPr lang="en-ID" sz="2400" dirty="0"/>
              <a:t>, </a:t>
            </a:r>
            <a:r>
              <a:rPr lang="en-ID" sz="2400" dirty="0" err="1"/>
              <a:t>kebiasaan</a:t>
            </a:r>
            <a:r>
              <a:rPr lang="en-ID" sz="2400" dirty="0"/>
              <a:t> </a:t>
            </a:r>
            <a:r>
              <a:rPr lang="en-ID" sz="2400" dirty="0" err="1"/>
              <a:t>belanja</a:t>
            </a:r>
            <a:r>
              <a:rPr lang="en-ID" sz="2400" dirty="0"/>
              <a:t>, </a:t>
            </a:r>
            <a:r>
              <a:rPr lang="en-ID" sz="2400" dirty="0" err="1"/>
              <a:t>ketersediaan</a:t>
            </a:r>
            <a:r>
              <a:rPr lang="en-ID" sz="2400" dirty="0"/>
              <a:t> </a:t>
            </a:r>
            <a:r>
              <a:rPr lang="en-ID" sz="2400" dirty="0" err="1"/>
              <a:t>produk</a:t>
            </a:r>
            <a:r>
              <a:rPr lang="en-ID" sz="2400" dirty="0"/>
              <a:t>, </a:t>
            </a:r>
            <a:r>
              <a:rPr lang="en-ID" sz="2400" dirty="0" err="1"/>
              <a:t>atau</a:t>
            </a:r>
            <a:r>
              <a:rPr lang="en-ID" sz="2400" dirty="0"/>
              <a:t> </a:t>
            </a:r>
            <a:r>
              <a:rPr lang="en-ID" sz="2400" dirty="0" err="1"/>
              <a:t>kemudahan</a:t>
            </a:r>
            <a:r>
              <a:rPr lang="en-ID" sz="2400" dirty="0"/>
              <a:t> </a:t>
            </a:r>
            <a:r>
              <a:rPr lang="en-ID" sz="2400" dirty="0" err="1"/>
              <a:t>akses</a:t>
            </a:r>
            <a:r>
              <a:rPr lang="en-ID" sz="2400" dirty="0"/>
              <a:t> </a:t>
            </a:r>
            <a:r>
              <a:rPr lang="en-ID" sz="2400" dirty="0" err="1"/>
              <a:t>mungkin</a:t>
            </a:r>
            <a:r>
              <a:rPr lang="en-ID" sz="2400" dirty="0"/>
              <a:t> </a:t>
            </a:r>
            <a:r>
              <a:rPr lang="en-ID" sz="2400" dirty="0" err="1"/>
              <a:t>lebih</a:t>
            </a:r>
            <a:r>
              <a:rPr lang="en-ID" sz="2400" dirty="0"/>
              <a:t> </a:t>
            </a:r>
            <a:r>
              <a:rPr lang="en-ID" sz="2400" dirty="0" err="1"/>
              <a:t>berperan</a:t>
            </a:r>
            <a:r>
              <a:rPr lang="en-ID" sz="2400" dirty="0"/>
              <a:t> </a:t>
            </a:r>
            <a:r>
              <a:rPr lang="en-ID" sz="2400" dirty="0" err="1"/>
              <a:t>dalam</a:t>
            </a:r>
            <a:r>
              <a:rPr lang="en-ID" sz="2400" dirty="0"/>
              <a:t> </a:t>
            </a:r>
            <a:r>
              <a:rPr lang="en-ID" sz="2400" dirty="0" err="1"/>
              <a:t>menentukan</a:t>
            </a:r>
            <a:r>
              <a:rPr lang="en-ID" sz="2400" dirty="0"/>
              <a:t> </a:t>
            </a:r>
            <a:r>
              <a:rPr lang="en-ID" sz="2400" dirty="0" err="1"/>
              <a:t>pilihan</a:t>
            </a:r>
            <a:r>
              <a:rPr lang="en-ID" sz="2400" dirty="0"/>
              <a:t> </a:t>
            </a:r>
            <a:r>
              <a:rPr lang="en-ID" sz="2400" dirty="0" err="1"/>
              <a:t>kanal</a:t>
            </a:r>
            <a:r>
              <a:rPr lang="en-ID" sz="2400" dirty="0"/>
              <a:t>.</a:t>
            </a:r>
            <a:endParaRPr lang="en-AU" sz="1800" kern="1200" dirty="0">
              <a:latin typeface="Arial" pitchFamily="34" charset="0"/>
              <a:ea typeface="+mn-ea"/>
              <a:cs typeface="Arial" pitchFamily="34" charset="0"/>
            </a:endParaRPr>
          </a:p>
        </p:txBody>
      </p:sp>
      <p:pic>
        <p:nvPicPr>
          <p:cNvPr id="7" name="Picture 2">
            <a:extLst>
              <a:ext uri="{FF2B5EF4-FFF2-40B4-BE49-F238E27FC236}">
                <a16:creationId xmlns:a16="http://schemas.microsoft.com/office/drawing/2014/main" id="{881D827A-0C72-2958-75FD-28349992CE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394" y="4291440"/>
            <a:ext cx="7305675" cy="4215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254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7" y="2452254"/>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err="1"/>
              <a:t>Grafik</a:t>
            </a:r>
            <a:r>
              <a:rPr lang="en-ID" sz="2000" dirty="0"/>
              <a:t> </a:t>
            </a:r>
            <a:r>
              <a:rPr lang="en-ID" sz="2000" dirty="0" err="1"/>
              <a:t>menunjukkan</a:t>
            </a:r>
            <a:r>
              <a:rPr lang="en-ID" sz="2000" dirty="0"/>
              <a:t> </a:t>
            </a:r>
            <a:r>
              <a:rPr lang="en-ID" sz="2000" dirty="0" err="1"/>
              <a:t>bahwa</a:t>
            </a:r>
            <a:r>
              <a:rPr lang="en-ID" sz="2000" dirty="0"/>
              <a:t> </a:t>
            </a:r>
            <a:r>
              <a:rPr lang="en-ID" sz="2000" dirty="0" err="1"/>
              <a:t>efektivitas</a:t>
            </a:r>
            <a:r>
              <a:rPr lang="en-ID" sz="2000" dirty="0"/>
              <a:t> </a:t>
            </a:r>
            <a:r>
              <a:rPr lang="en-ID" sz="2000" dirty="0" err="1"/>
              <a:t>setiap</a:t>
            </a:r>
            <a:r>
              <a:rPr lang="en-ID" sz="2000" dirty="0"/>
              <a:t> </a:t>
            </a:r>
            <a:r>
              <a:rPr lang="en-ID" sz="2000" dirty="0" err="1"/>
              <a:t>kampanye</a:t>
            </a:r>
            <a:r>
              <a:rPr lang="en-ID" sz="2000" dirty="0"/>
              <a:t> sangat </a:t>
            </a:r>
            <a:r>
              <a:rPr lang="en-ID" sz="2000" dirty="0" err="1"/>
              <a:t>bervariasi</a:t>
            </a:r>
            <a:r>
              <a:rPr lang="en-ID" sz="2000" dirty="0"/>
              <a:t> </a:t>
            </a:r>
            <a:r>
              <a:rPr lang="en-ID" sz="2000" dirty="0" err="1"/>
              <a:t>tergantung</a:t>
            </a:r>
            <a:r>
              <a:rPr lang="en-ID" sz="2000" dirty="0"/>
              <a:t> pada </a:t>
            </a:r>
            <a:r>
              <a:rPr lang="en-ID" sz="2000" dirty="0" err="1"/>
              <a:t>kanal</a:t>
            </a:r>
            <a:r>
              <a:rPr lang="en-ID" sz="2000" dirty="0"/>
              <a:t> </a:t>
            </a:r>
            <a:r>
              <a:rPr lang="en-ID" sz="2000" dirty="0" err="1"/>
              <a:t>pembelian</a:t>
            </a:r>
            <a:r>
              <a:rPr lang="en-ID" sz="2000" dirty="0"/>
              <a:t>. </a:t>
            </a:r>
            <a:r>
              <a:rPr lang="en-ID" sz="2000" dirty="0" err="1"/>
              <a:t>Beberapa</a:t>
            </a:r>
            <a:r>
              <a:rPr lang="en-ID" sz="2000" dirty="0"/>
              <a:t> </a:t>
            </a:r>
            <a:r>
              <a:rPr lang="en-ID" sz="2000" dirty="0" err="1"/>
              <a:t>kampanye</a:t>
            </a:r>
            <a:r>
              <a:rPr lang="en-ID" sz="2000" dirty="0"/>
              <a:t> </a:t>
            </a:r>
            <a:r>
              <a:rPr lang="en-ID" sz="2000" dirty="0" err="1"/>
              <a:t>lebih</a:t>
            </a:r>
            <a:r>
              <a:rPr lang="en-ID" sz="2000" dirty="0"/>
              <a:t> </a:t>
            </a:r>
            <a:r>
              <a:rPr lang="en-ID" sz="2000" dirty="0" err="1"/>
              <a:t>efektif</a:t>
            </a:r>
            <a:r>
              <a:rPr lang="en-ID" sz="2000" dirty="0"/>
              <a:t> </a:t>
            </a:r>
            <a:r>
              <a:rPr lang="en-ID" sz="2000" dirty="0" err="1"/>
              <a:t>dalam</a:t>
            </a:r>
            <a:r>
              <a:rPr lang="en-ID" sz="2000" dirty="0"/>
              <a:t> </a:t>
            </a:r>
            <a:r>
              <a:rPr lang="en-ID" sz="2000" dirty="0" err="1"/>
              <a:t>menarik</a:t>
            </a:r>
            <a:r>
              <a:rPr lang="en-ID" sz="2000" dirty="0"/>
              <a:t> </a:t>
            </a:r>
            <a:r>
              <a:rPr lang="en-ID" sz="2000" dirty="0" err="1"/>
              <a:t>minat</a:t>
            </a:r>
            <a:r>
              <a:rPr lang="en-ID" sz="2000" dirty="0"/>
              <a:t> </a:t>
            </a:r>
            <a:r>
              <a:rPr lang="en-ID" sz="2000" dirty="0" err="1"/>
              <a:t>pelanggan</a:t>
            </a:r>
            <a:r>
              <a:rPr lang="en-ID" sz="2000" dirty="0"/>
              <a:t> di </a:t>
            </a:r>
            <a:r>
              <a:rPr lang="en-ID" sz="2000" dirty="0" err="1"/>
              <a:t>satu</a:t>
            </a:r>
            <a:r>
              <a:rPr lang="en-ID" sz="2000" dirty="0"/>
              <a:t> </a:t>
            </a:r>
            <a:r>
              <a:rPr lang="en-ID" sz="2000" dirty="0" err="1"/>
              <a:t>kanal</a:t>
            </a:r>
            <a:r>
              <a:rPr lang="en-ID" sz="2000" dirty="0"/>
              <a:t> </a:t>
            </a:r>
            <a:r>
              <a:rPr lang="en-ID" sz="2000" dirty="0" err="1"/>
              <a:t>dibandingkan</a:t>
            </a:r>
            <a:r>
              <a:rPr lang="en-ID" sz="2000" dirty="0"/>
              <a:t> </a:t>
            </a:r>
            <a:r>
              <a:rPr lang="en-ID" sz="2000" dirty="0" err="1"/>
              <a:t>dengan</a:t>
            </a:r>
            <a:r>
              <a:rPr lang="en-ID" sz="2000" dirty="0"/>
              <a:t> </a:t>
            </a:r>
            <a:r>
              <a:rPr lang="en-ID" sz="2000" dirty="0" err="1"/>
              <a:t>kanal</a:t>
            </a:r>
            <a:r>
              <a:rPr lang="en-ID" sz="2000" dirty="0"/>
              <a:t> </a:t>
            </a:r>
            <a:r>
              <a:rPr lang="en-ID" sz="2000" dirty="0" err="1"/>
              <a:t>lainnya</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36933" y="2944696"/>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efektivitas</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mpanye</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asar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belian</a:t>
            </a:r>
            <a:r>
              <a:rPr lang="en-AU" sz="2400" b="1" kern="1200" dirty="0">
                <a:latin typeface="Arial" pitchFamily="34" charset="0"/>
                <a:ea typeface="+mn-ea"/>
                <a:cs typeface="Arial" pitchFamily="34" charset="0"/>
              </a:rPr>
              <a:t>:</a:t>
            </a:r>
          </a:p>
        </p:txBody>
      </p:sp>
      <p:sp>
        <p:nvSpPr>
          <p:cNvPr id="8" name="Title 1"/>
          <p:cNvSpPr>
            <a:spLocks noGrp="1"/>
          </p:cNvSpPr>
          <p:nvPr>
            <p:ph type="title"/>
          </p:nvPr>
        </p:nvSpPr>
        <p:spPr>
          <a:xfrm>
            <a:off x="1004887" y="199772"/>
            <a:ext cx="16383001" cy="1247400"/>
          </a:xfrm>
        </p:spPr>
        <p:txBody>
          <a:bodyPr/>
          <a:lstStyle/>
          <a:p>
            <a:r>
              <a:rPr lang="en-ID" sz="1100" b="0" i="0" dirty="0">
                <a:solidFill>
                  <a:srgbClr val="212121"/>
                </a:solidFill>
                <a:effectLst/>
                <a:highlight>
                  <a:srgbClr val="FFFFFF"/>
                </a:highlight>
                <a:latin typeface="Roboto" panose="02000000000000000000" pitchFamily="2" charset="0"/>
              </a:rPr>
              <a:t> </a:t>
            </a:r>
            <a:r>
              <a:rPr lang="en-ID" sz="2000" i="0" dirty="0" err="1">
                <a:effectLst/>
                <a:highlight>
                  <a:srgbClr val="FFFFFF"/>
                </a:highlight>
              </a:rPr>
              <a:t>Secara</a:t>
            </a:r>
            <a:r>
              <a:rPr lang="en-ID" sz="2000" i="0" dirty="0">
                <a:effectLst/>
                <a:highlight>
                  <a:srgbClr val="FFFFFF"/>
                </a:highlight>
              </a:rPr>
              <a:t> </a:t>
            </a:r>
            <a:r>
              <a:rPr lang="en-ID" sz="2000" i="0" dirty="0" err="1">
                <a:effectLst/>
                <a:highlight>
                  <a:srgbClr val="FFFFFF"/>
                </a:highlight>
              </a:rPr>
              <a:t>keseluruhan</a:t>
            </a:r>
            <a:r>
              <a:rPr lang="en-ID" sz="2000" i="0" dirty="0">
                <a:effectLst/>
                <a:highlight>
                  <a:srgbClr val="FFFFFF"/>
                </a:highlight>
              </a:rPr>
              <a:t>,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pemasaran</a:t>
            </a:r>
            <a:r>
              <a:rPr lang="en-ID" sz="2000" i="0" dirty="0">
                <a:effectLst/>
                <a:highlight>
                  <a:srgbClr val="FFFFFF"/>
                </a:highlight>
              </a:rPr>
              <a:t> </a:t>
            </a:r>
            <a:r>
              <a:rPr lang="en-ID" sz="2000" i="0" dirty="0" err="1">
                <a:effectLst/>
                <a:highlight>
                  <a:srgbClr val="FFFFFF"/>
                </a:highlight>
              </a:rPr>
              <a:t>cenderung</a:t>
            </a:r>
            <a:r>
              <a:rPr lang="en-ID" sz="2000" i="0" dirty="0">
                <a:effectLst/>
                <a:highlight>
                  <a:srgbClr val="FFFFFF"/>
                </a:highlight>
              </a:rPr>
              <a:t> </a:t>
            </a:r>
            <a:r>
              <a:rPr lang="en-ID" sz="2000" i="0" dirty="0" err="1">
                <a:effectLst/>
                <a:highlight>
                  <a:srgbClr val="FFFFFF"/>
                </a:highlight>
              </a:rPr>
              <a:t>mendorong</a:t>
            </a:r>
            <a:r>
              <a:rPr lang="en-ID" sz="2000" i="0" dirty="0">
                <a:effectLst/>
                <a:highlight>
                  <a:srgbClr val="FFFFFF"/>
                </a:highlight>
              </a:rPr>
              <a:t> </a:t>
            </a:r>
            <a:r>
              <a:rPr lang="en-ID" sz="2000" i="0" dirty="0" err="1">
                <a:effectLst/>
                <a:highlight>
                  <a:srgbClr val="FFFFFF"/>
                </a:highlight>
              </a:rPr>
              <a:t>lebih</a:t>
            </a:r>
            <a:r>
              <a:rPr lang="en-ID" sz="2000" i="0" dirty="0">
                <a:effectLst/>
                <a:highlight>
                  <a:srgbClr val="FFFFFF"/>
                </a:highlight>
              </a:rPr>
              <a:t> </a:t>
            </a:r>
            <a:r>
              <a:rPr lang="en-ID" sz="2000" i="0" dirty="0" err="1">
                <a:effectLst/>
                <a:highlight>
                  <a:srgbClr val="FFFFFF"/>
                </a:highlight>
              </a:rPr>
              <a:t>banyak</a:t>
            </a:r>
            <a:r>
              <a:rPr lang="en-ID" sz="2000" i="0" dirty="0">
                <a:effectLst/>
                <a:highlight>
                  <a:srgbClr val="FFFFFF"/>
                </a:highlight>
              </a:rPr>
              <a:t> </a:t>
            </a:r>
            <a:r>
              <a:rPr lang="en-ID" sz="2000" i="0" dirty="0" err="1">
                <a:effectLst/>
                <a:highlight>
                  <a:srgbClr val="FFFFFF"/>
                </a:highlight>
              </a:rPr>
              <a:t>pembelian</a:t>
            </a:r>
            <a:r>
              <a:rPr lang="en-ID" sz="2000" i="0" dirty="0">
                <a:effectLst/>
                <a:highlight>
                  <a:srgbClr val="FFFFFF"/>
                </a:highlight>
              </a:rPr>
              <a:t> </a:t>
            </a:r>
            <a:r>
              <a:rPr lang="en-ID" sz="2000" i="0" dirty="0" err="1">
                <a:effectLst/>
                <a:highlight>
                  <a:srgbClr val="FFFFFF"/>
                </a:highlight>
              </a:rPr>
              <a:t>melalui</a:t>
            </a:r>
            <a:r>
              <a:rPr lang="en-ID" sz="2000" i="0" dirty="0">
                <a:effectLst/>
                <a:highlight>
                  <a:srgbClr val="FFFFFF"/>
                </a:highlight>
              </a:rPr>
              <a:t> toko </a:t>
            </a:r>
            <a:r>
              <a:rPr lang="en-ID" sz="2000" i="0" dirty="0" err="1">
                <a:effectLst/>
                <a:highlight>
                  <a:srgbClr val="FFFFFF"/>
                </a:highlight>
              </a:rPr>
              <a:t>fisik</a:t>
            </a:r>
            <a:r>
              <a:rPr lang="en-ID" sz="2000" i="0" dirty="0">
                <a:effectLst/>
                <a:highlight>
                  <a:srgbClr val="FFFFFF"/>
                </a:highlight>
              </a:rPr>
              <a:t> (</a:t>
            </a:r>
            <a:r>
              <a:rPr lang="en-ID" sz="2000" i="0" dirty="0" err="1">
                <a:effectLst/>
                <a:highlight>
                  <a:srgbClr val="FFFFFF"/>
                </a:highlight>
              </a:rPr>
              <a:t>NumStorePurchases</a:t>
            </a:r>
            <a:r>
              <a:rPr lang="en-ID" sz="2000" i="0" dirty="0">
                <a:effectLst/>
                <a:highlight>
                  <a:srgbClr val="FFFFFF"/>
                </a:highlight>
              </a:rPr>
              <a:t>) </a:t>
            </a:r>
            <a:r>
              <a:rPr lang="en-ID" sz="2000" i="0" dirty="0" err="1">
                <a:effectLst/>
                <a:highlight>
                  <a:srgbClr val="FFFFFF"/>
                </a:highlight>
              </a:rPr>
              <a:t>dengan</a:t>
            </a:r>
            <a:r>
              <a:rPr lang="en-ID" sz="2000" i="0" dirty="0">
                <a:effectLst/>
                <a:highlight>
                  <a:srgbClr val="FFFFFF"/>
                </a:highlight>
              </a:rPr>
              <a:t> </a:t>
            </a:r>
            <a:r>
              <a:rPr lang="en-ID" sz="2000" i="0" dirty="0" err="1">
                <a:effectLst/>
                <a:highlight>
                  <a:srgbClr val="FFFFFF"/>
                </a:highlight>
              </a:rPr>
              <a:t>jumlah</a:t>
            </a:r>
            <a:r>
              <a:rPr lang="en-ID" sz="2000" i="0" dirty="0">
                <a:effectLst/>
                <a:highlight>
                  <a:srgbClr val="FFFFFF"/>
                </a:highlight>
              </a:rPr>
              <a:t> </a:t>
            </a:r>
            <a:r>
              <a:rPr lang="en-ID" sz="2000" i="0" dirty="0" err="1">
                <a:effectLst/>
                <a:highlight>
                  <a:srgbClr val="FFFFFF"/>
                </a:highlight>
              </a:rPr>
              <a:t>penerimaan</a:t>
            </a:r>
            <a:r>
              <a:rPr lang="en-ID" sz="2000" i="0" dirty="0">
                <a:effectLst/>
                <a:highlight>
                  <a:srgbClr val="FFFFFF"/>
                </a:highlight>
              </a:rPr>
              <a:t>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diatas</a:t>
            </a:r>
            <a:r>
              <a:rPr lang="en-ID" sz="2000" i="0" dirty="0">
                <a:effectLst/>
                <a:highlight>
                  <a:srgbClr val="FFFFFF"/>
                </a:highlight>
              </a:rPr>
              <a:t> 800 (</a:t>
            </a:r>
            <a:r>
              <a:rPr lang="en-ID" sz="2000" i="0" dirty="0" err="1">
                <a:effectLst/>
                <a:highlight>
                  <a:srgbClr val="FFFFFF"/>
                </a:highlight>
              </a:rPr>
              <a:t>kecuali</a:t>
            </a:r>
            <a:r>
              <a:rPr lang="en-ID" sz="2000" i="0" dirty="0">
                <a:effectLst/>
                <a:highlight>
                  <a:srgbClr val="FFFFFF"/>
                </a:highlight>
              </a:rPr>
              <a:t> pada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ke</a:t>
            </a:r>
            <a:r>
              <a:rPr lang="en-ID" sz="2000" i="0" dirty="0">
                <a:effectLst/>
                <a:highlight>
                  <a:srgbClr val="FFFFFF"/>
                </a:highlight>
              </a:rPr>
              <a:t> 2) </a:t>
            </a:r>
            <a:r>
              <a:rPr lang="en-ID" sz="2000" i="0" dirty="0" err="1">
                <a:effectLst/>
                <a:highlight>
                  <a:srgbClr val="FFFFFF"/>
                </a:highlight>
              </a:rPr>
              <a:t>dibandingkan</a:t>
            </a:r>
            <a:r>
              <a:rPr lang="en-ID" sz="2000" i="0" dirty="0">
                <a:effectLst/>
                <a:highlight>
                  <a:srgbClr val="FFFFFF"/>
                </a:highlight>
              </a:rPr>
              <a:t> </a:t>
            </a:r>
            <a:r>
              <a:rPr lang="en-ID" sz="2000" i="0" dirty="0" err="1">
                <a:effectLst/>
                <a:highlight>
                  <a:srgbClr val="FFFFFF"/>
                </a:highlight>
              </a:rPr>
              <a:t>dengan</a:t>
            </a:r>
            <a:r>
              <a:rPr lang="en-ID" sz="2000" i="0" dirty="0">
                <a:effectLst/>
                <a:highlight>
                  <a:srgbClr val="FFFFFF"/>
                </a:highlight>
              </a:rPr>
              <a:t> </a:t>
            </a:r>
            <a:r>
              <a:rPr lang="en-ID" sz="2000" i="0" dirty="0" err="1">
                <a:effectLst/>
                <a:highlight>
                  <a:srgbClr val="FFFFFF"/>
                </a:highlight>
              </a:rPr>
              <a:t>kanal</a:t>
            </a:r>
            <a:r>
              <a:rPr lang="en-ID" sz="2000" i="0" dirty="0">
                <a:effectLst/>
                <a:highlight>
                  <a:srgbClr val="FFFFFF"/>
                </a:highlight>
              </a:rPr>
              <a:t> web </a:t>
            </a:r>
            <a:r>
              <a:rPr lang="en-ID" sz="2000" i="0" dirty="0" err="1">
                <a:effectLst/>
                <a:highlight>
                  <a:srgbClr val="FFFFFF"/>
                </a:highlight>
              </a:rPr>
              <a:t>atau</a:t>
            </a:r>
            <a:r>
              <a:rPr lang="en-ID" sz="2000" i="0" dirty="0">
                <a:effectLst/>
                <a:highlight>
                  <a:srgbClr val="FFFFFF"/>
                </a:highlight>
              </a:rPr>
              <a:t> </a:t>
            </a:r>
            <a:r>
              <a:rPr lang="en-ID" sz="2000" i="0" dirty="0" err="1">
                <a:effectLst/>
                <a:highlight>
                  <a:srgbClr val="FFFFFF"/>
                </a:highlight>
              </a:rPr>
              <a:t>katalog</a:t>
            </a:r>
            <a:r>
              <a:rPr lang="en-ID" sz="2000" i="0" dirty="0">
                <a:effectLst/>
                <a:highlight>
                  <a:srgbClr val="FFFFFF"/>
                </a:highlight>
              </a:rPr>
              <a:t>. Hal </a:t>
            </a:r>
            <a:r>
              <a:rPr lang="en-ID" sz="2000" i="0" dirty="0" err="1">
                <a:effectLst/>
                <a:highlight>
                  <a:srgbClr val="FFFFFF"/>
                </a:highlight>
              </a:rPr>
              <a:t>ini</a:t>
            </a:r>
            <a:r>
              <a:rPr lang="en-ID" sz="2000" i="0" dirty="0">
                <a:effectLst/>
                <a:highlight>
                  <a:srgbClr val="FFFFFF"/>
                </a:highlight>
              </a:rPr>
              <a:t> </a:t>
            </a:r>
            <a:r>
              <a:rPr lang="en-ID" sz="2000" i="0" dirty="0" err="1">
                <a:effectLst/>
                <a:highlight>
                  <a:srgbClr val="FFFFFF"/>
                </a:highlight>
              </a:rPr>
              <a:t>mengindikasikan</a:t>
            </a:r>
            <a:r>
              <a:rPr lang="en-ID" sz="2000" i="0" dirty="0">
                <a:effectLst/>
                <a:highlight>
                  <a:srgbClr val="FFFFFF"/>
                </a:highlight>
              </a:rPr>
              <a:t> </a:t>
            </a:r>
            <a:r>
              <a:rPr lang="en-ID" sz="2000" i="0" dirty="0" err="1">
                <a:effectLst/>
                <a:highlight>
                  <a:srgbClr val="FFFFFF"/>
                </a:highlight>
              </a:rPr>
              <a:t>bahwa</a:t>
            </a:r>
            <a:r>
              <a:rPr lang="en-ID" sz="2000" i="0" dirty="0">
                <a:effectLst/>
                <a:highlight>
                  <a:srgbClr val="FFFFFF"/>
                </a:highlight>
              </a:rPr>
              <a:t> </a:t>
            </a:r>
            <a:r>
              <a:rPr lang="en-ID" sz="2000" i="0" dirty="0" err="1">
                <a:effectLst/>
                <a:highlight>
                  <a:srgbClr val="FFFFFF"/>
                </a:highlight>
              </a:rPr>
              <a:t>kampanye-kampanye</a:t>
            </a:r>
            <a:r>
              <a:rPr lang="en-ID" sz="2000" i="0" dirty="0">
                <a:effectLst/>
                <a:highlight>
                  <a:srgbClr val="FFFFFF"/>
                </a:highlight>
              </a:rPr>
              <a:t> </a:t>
            </a:r>
            <a:r>
              <a:rPr lang="en-ID" sz="2000" i="0" dirty="0" err="1">
                <a:effectLst/>
                <a:highlight>
                  <a:srgbClr val="FFFFFF"/>
                </a:highlight>
              </a:rPr>
              <a:t>ini</a:t>
            </a:r>
            <a:r>
              <a:rPr lang="en-ID" sz="2000" i="0" dirty="0">
                <a:effectLst/>
                <a:highlight>
                  <a:srgbClr val="FFFFFF"/>
                </a:highlight>
              </a:rPr>
              <a:t> </a:t>
            </a:r>
            <a:r>
              <a:rPr lang="en-ID" sz="2000" i="0" dirty="0" err="1">
                <a:effectLst/>
                <a:highlight>
                  <a:srgbClr val="FFFFFF"/>
                </a:highlight>
              </a:rPr>
              <a:t>efektif</a:t>
            </a:r>
            <a:r>
              <a:rPr lang="en-ID" sz="2000" i="0" dirty="0">
                <a:effectLst/>
                <a:highlight>
                  <a:srgbClr val="FFFFFF"/>
                </a:highlight>
              </a:rPr>
              <a:t> </a:t>
            </a:r>
            <a:r>
              <a:rPr lang="en-ID" sz="2000" i="0" dirty="0" err="1">
                <a:effectLst/>
                <a:highlight>
                  <a:srgbClr val="FFFFFF"/>
                </a:highlight>
              </a:rPr>
              <a:t>dalam</a:t>
            </a:r>
            <a:r>
              <a:rPr lang="en-ID" sz="2000" i="0" dirty="0">
                <a:effectLst/>
                <a:highlight>
                  <a:srgbClr val="FFFFFF"/>
                </a:highlight>
              </a:rPr>
              <a:t> </a:t>
            </a:r>
            <a:r>
              <a:rPr lang="en-ID" sz="2000" i="0" dirty="0" err="1">
                <a:effectLst/>
                <a:highlight>
                  <a:srgbClr val="FFFFFF"/>
                </a:highlight>
              </a:rPr>
              <a:t>menarik</a:t>
            </a:r>
            <a:r>
              <a:rPr lang="en-ID" sz="2000" i="0" dirty="0">
                <a:effectLst/>
                <a:highlight>
                  <a:srgbClr val="FFFFFF"/>
                </a:highlight>
              </a:rPr>
              <a:t> </a:t>
            </a:r>
            <a:r>
              <a:rPr lang="en-ID" sz="2000" i="0" dirty="0" err="1">
                <a:effectLst/>
                <a:highlight>
                  <a:srgbClr val="FFFFFF"/>
                </a:highlight>
              </a:rPr>
              <a:t>pelanggan</a:t>
            </a:r>
            <a:r>
              <a:rPr lang="en-ID" sz="2000" i="0" dirty="0">
                <a:effectLst/>
                <a:highlight>
                  <a:srgbClr val="FFFFFF"/>
                </a:highlight>
              </a:rPr>
              <a:t> </a:t>
            </a:r>
            <a:r>
              <a:rPr lang="en-ID" sz="2000" i="0" dirty="0" err="1">
                <a:effectLst/>
                <a:highlight>
                  <a:srgbClr val="FFFFFF"/>
                </a:highlight>
              </a:rPr>
              <a:t>ke</a:t>
            </a:r>
            <a:r>
              <a:rPr lang="en-ID" sz="2000" i="0" dirty="0">
                <a:effectLst/>
                <a:highlight>
                  <a:srgbClr val="FFFFFF"/>
                </a:highlight>
              </a:rPr>
              <a:t> toko </a:t>
            </a:r>
            <a:r>
              <a:rPr lang="en-ID" sz="2000" i="0" dirty="0" err="1">
                <a:effectLst/>
                <a:highlight>
                  <a:srgbClr val="FFFFFF"/>
                </a:highlight>
              </a:rPr>
              <a:t>fisik</a:t>
            </a:r>
            <a:r>
              <a:rPr lang="en-ID" sz="2000" i="0" dirty="0">
                <a:effectLst/>
                <a:highlight>
                  <a:srgbClr val="FFFFFF"/>
                </a:highlight>
              </a:rPr>
              <a:t>.</a:t>
            </a:r>
            <a:endParaRPr lang="en-US" sz="20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Bagaimana</a:t>
            </a:r>
            <a:r>
              <a:rPr lang="en-AU" sz="1500" b="1" i="1" dirty="0">
                <a:latin typeface="Arial" pitchFamily="34" charset="0"/>
                <a:cs typeface="Arial" pitchFamily="34" charset="0"/>
              </a:rPr>
              <a:t> </a:t>
            </a:r>
            <a:r>
              <a:rPr lang="en-AU" sz="1500" b="1" i="1" dirty="0" err="1">
                <a:latin typeface="Arial" pitchFamily="34" charset="0"/>
                <a:cs typeface="Arial" pitchFamily="34" charset="0"/>
              </a:rPr>
              <a:t>efektivitas</a:t>
            </a:r>
            <a:r>
              <a:rPr lang="en-AU" sz="1500" b="1" i="1" dirty="0">
                <a:latin typeface="Arial" pitchFamily="34" charset="0"/>
                <a:cs typeface="Arial" pitchFamily="34" charset="0"/>
              </a:rPr>
              <a:t> </a:t>
            </a:r>
            <a:r>
              <a:rPr lang="en-AU" sz="1500" b="1" i="1" dirty="0" err="1">
                <a:latin typeface="Arial" pitchFamily="34" charset="0"/>
                <a:cs typeface="Arial" pitchFamily="34" charset="0"/>
              </a:rPr>
              <a:t>kampanye</a:t>
            </a:r>
            <a:r>
              <a:rPr lang="en-AU" sz="1500" b="1" i="1" dirty="0">
                <a:latin typeface="Arial" pitchFamily="34" charset="0"/>
                <a:cs typeface="Arial" pitchFamily="34" charset="0"/>
              </a:rPr>
              <a:t> </a:t>
            </a:r>
            <a:r>
              <a:rPr lang="en-AU" sz="1500" b="1" i="1" dirty="0" err="1">
                <a:latin typeface="Arial" pitchFamily="34" charset="0"/>
                <a:cs typeface="Arial" pitchFamily="34" charset="0"/>
              </a:rPr>
              <a:t>berbeda</a:t>
            </a:r>
            <a:r>
              <a:rPr lang="en-AU" sz="1500" b="1" i="1" dirty="0">
                <a:latin typeface="Arial" pitchFamily="34" charset="0"/>
                <a:cs typeface="Arial" pitchFamily="34" charset="0"/>
              </a:rPr>
              <a:t> di </a:t>
            </a:r>
            <a:r>
              <a:rPr lang="en-AU" sz="1500" b="1" i="1" dirty="0" err="1">
                <a:latin typeface="Arial" pitchFamily="34" charset="0"/>
                <a:cs typeface="Arial" pitchFamily="34" charset="0"/>
              </a:rPr>
              <a:t>antara</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dan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36933" y="4403877"/>
            <a:ext cx="8181975" cy="4459136"/>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b="1" dirty="0"/>
              <a:t>AcceptedCmp1 dan AcceptedCmp5 : </a:t>
            </a:r>
            <a:r>
              <a:rPr lang="en-ID" sz="2400" dirty="0"/>
              <a:t>Pada </a:t>
            </a:r>
            <a:r>
              <a:rPr lang="en-ID" sz="2400" dirty="0" err="1"/>
              <a:t>kampanye</a:t>
            </a:r>
            <a:r>
              <a:rPr lang="en-ID" sz="2400" dirty="0"/>
              <a:t> </a:t>
            </a:r>
            <a:r>
              <a:rPr lang="en-ID" sz="2400" dirty="0" err="1"/>
              <a:t>pemasaran</a:t>
            </a:r>
            <a:r>
              <a:rPr lang="en-ID" sz="2400" dirty="0"/>
              <a:t> </a:t>
            </a:r>
            <a:r>
              <a:rPr lang="en-ID" sz="2400" dirty="0" err="1"/>
              <a:t>pertama</a:t>
            </a:r>
            <a:r>
              <a:rPr lang="en-ID" sz="2400" dirty="0"/>
              <a:t> dan </a:t>
            </a:r>
            <a:r>
              <a:rPr lang="en-ID" sz="2400" dirty="0" err="1"/>
              <a:t>kelima</a:t>
            </a:r>
            <a:r>
              <a:rPr lang="en-ID" sz="2400" dirty="0"/>
              <a:t> </a:t>
            </a:r>
            <a:r>
              <a:rPr lang="en-ID" sz="2400" dirty="0" err="1"/>
              <a:t>dapat</a:t>
            </a:r>
            <a:r>
              <a:rPr lang="en-ID" sz="2400" dirty="0"/>
              <a:t> </a:t>
            </a:r>
            <a:r>
              <a:rPr lang="en-ID" sz="2400" dirty="0" err="1"/>
              <a:t>dilihat</a:t>
            </a:r>
            <a:r>
              <a:rPr lang="en-ID" sz="2400" dirty="0"/>
              <a:t> </a:t>
            </a:r>
            <a:r>
              <a:rPr lang="en-ID" sz="2400" dirty="0" err="1"/>
              <a:t>bahwa</a:t>
            </a:r>
            <a:r>
              <a:rPr lang="en-ID" sz="2400" dirty="0"/>
              <a:t> </a:t>
            </a:r>
            <a:r>
              <a:rPr lang="en-ID" sz="2400" dirty="0" err="1"/>
              <a:t>kampanye</a:t>
            </a:r>
            <a:r>
              <a:rPr lang="en-ID" sz="2400" dirty="0"/>
              <a:t> </a:t>
            </a:r>
            <a:r>
              <a:rPr lang="en-ID" sz="2400" dirty="0" err="1"/>
              <a:t>tebilang</a:t>
            </a:r>
            <a:r>
              <a:rPr lang="en-ID" sz="2400" dirty="0"/>
              <a:t> </a:t>
            </a:r>
            <a:r>
              <a:rPr lang="en-ID" sz="2400" dirty="0" err="1"/>
              <a:t>berhasil</a:t>
            </a:r>
            <a:r>
              <a:rPr lang="en-ID" sz="2400" dirty="0"/>
              <a:t> </a:t>
            </a:r>
            <a:r>
              <a:rPr lang="en-ID" sz="2400" dirty="0" err="1"/>
              <a:t>karena</a:t>
            </a:r>
            <a:r>
              <a:rPr lang="en-ID" sz="2400" dirty="0"/>
              <a:t> </a:t>
            </a:r>
            <a:r>
              <a:rPr lang="en-ID" sz="2400" dirty="0" err="1"/>
              <a:t>jumlah</a:t>
            </a:r>
            <a:r>
              <a:rPr lang="en-ID" sz="2400" dirty="0"/>
              <a:t> </a:t>
            </a:r>
            <a:r>
              <a:rPr lang="en-ID" sz="2400" dirty="0" err="1"/>
              <a:t>penerimaan</a:t>
            </a:r>
            <a:r>
              <a:rPr lang="en-ID" sz="2400" dirty="0"/>
              <a:t> </a:t>
            </a:r>
            <a:r>
              <a:rPr lang="en-ID" sz="2400" dirty="0" err="1"/>
              <a:t>kampanye</a:t>
            </a:r>
            <a:r>
              <a:rPr lang="en-ID" sz="2400" dirty="0"/>
              <a:t> </a:t>
            </a:r>
            <a:r>
              <a:rPr lang="en-ID" sz="2400" dirty="0" err="1"/>
              <a:t>cukup</a:t>
            </a:r>
            <a:r>
              <a:rPr lang="en-ID" sz="2400" dirty="0"/>
              <a:t> </a:t>
            </a:r>
            <a:r>
              <a:rPr lang="en-ID" sz="2400" dirty="0" err="1"/>
              <a:t>tinggi</a:t>
            </a:r>
            <a:r>
              <a:rPr lang="en-ID" sz="2400" dirty="0"/>
              <a:t> </a:t>
            </a:r>
            <a:r>
              <a:rPr lang="en-ID" sz="2400" dirty="0" err="1"/>
              <a:t>yaitu</a:t>
            </a:r>
            <a:r>
              <a:rPr lang="en-ID" sz="2400" dirty="0"/>
              <a:t> </a:t>
            </a:r>
            <a:r>
              <a:rPr lang="en-ID" sz="2400" dirty="0" err="1"/>
              <a:t>diatas</a:t>
            </a:r>
            <a:r>
              <a:rPr lang="en-ID" sz="2400" dirty="0"/>
              <a:t> 600 </a:t>
            </a:r>
            <a:r>
              <a:rPr lang="en-ID" sz="2400" dirty="0" err="1"/>
              <a:t>untuk</a:t>
            </a:r>
            <a:r>
              <a:rPr lang="en-ID" sz="2400" dirty="0"/>
              <a:t> </a:t>
            </a:r>
            <a:r>
              <a:rPr lang="en-ID" sz="2400" dirty="0" err="1"/>
              <a:t>semua</a:t>
            </a:r>
            <a:r>
              <a:rPr lang="en-ID" sz="2400" dirty="0"/>
              <a:t> </a:t>
            </a:r>
            <a:r>
              <a:rPr lang="en-ID" sz="2400" dirty="0" err="1"/>
              <a:t>kanal</a:t>
            </a:r>
            <a:r>
              <a:rPr lang="en-ID" sz="2400" dirty="0"/>
              <a:t> </a:t>
            </a:r>
            <a:r>
              <a:rPr lang="en-ID" sz="2400" dirty="0" err="1"/>
              <a:t>pembelian</a:t>
            </a:r>
            <a:r>
              <a:rPr lang="en-ID" sz="2400" dirty="0"/>
              <a:t>.</a:t>
            </a:r>
          </a:p>
          <a:p>
            <a:pPr>
              <a:lnSpc>
                <a:spcPct val="107000"/>
              </a:lnSpc>
              <a:spcAft>
                <a:spcPts val="800"/>
              </a:spcAft>
            </a:pPr>
            <a:endParaRPr lang="en-ID" sz="2400" kern="1200" dirty="0">
              <a:latin typeface="Arial" pitchFamily="34" charset="0"/>
              <a:ea typeface="+mn-ea"/>
              <a:cs typeface="Arial" pitchFamily="34" charset="0"/>
            </a:endParaRPr>
          </a:p>
          <a:p>
            <a:pPr>
              <a:lnSpc>
                <a:spcPct val="107000"/>
              </a:lnSpc>
              <a:spcAft>
                <a:spcPts val="800"/>
              </a:spcAft>
            </a:pPr>
            <a:r>
              <a:rPr lang="en-ID" sz="2400" b="1" kern="1200" dirty="0">
                <a:latin typeface="Arial" pitchFamily="34" charset="0"/>
                <a:ea typeface="+mn-ea"/>
                <a:cs typeface="Arial" pitchFamily="34" charset="0"/>
              </a:rPr>
              <a:t>AcceptedCmp2: </a:t>
            </a:r>
            <a:r>
              <a:rPr lang="en-ID" sz="2400" kern="1200" dirty="0">
                <a:latin typeface="Arial" pitchFamily="34" charset="0"/>
                <a:ea typeface="+mn-ea"/>
                <a:cs typeface="Arial" pitchFamily="34" charset="0"/>
              </a:rPr>
              <a:t>Pada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pemasaran</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edu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apat</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ilihat</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bahw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gagal</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ren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junlah</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penerimaan</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cukup</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rendah</a:t>
            </a:r>
            <a:r>
              <a:rPr lang="en-ID" sz="2400" kern="1200" dirty="0">
                <a:latin typeface="Arial" pitchFamily="34" charset="0"/>
                <a:ea typeface="+mn-ea"/>
                <a:cs typeface="Arial" pitchFamily="34" charset="0"/>
              </a:rPr>
              <a:t> pada </a:t>
            </a:r>
            <a:r>
              <a:rPr lang="en-ID" sz="2400" kern="1200" dirty="0" err="1">
                <a:latin typeface="Arial" pitchFamily="34" charset="0"/>
                <a:ea typeface="+mn-ea"/>
                <a:cs typeface="Arial" pitchFamily="34" charset="0"/>
              </a:rPr>
              <a:t>semu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nal</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ibawah</a:t>
            </a:r>
            <a:r>
              <a:rPr lang="en-ID" sz="2400" kern="1200" dirty="0">
                <a:latin typeface="Arial" pitchFamily="34" charset="0"/>
                <a:ea typeface="+mn-ea"/>
                <a:cs typeface="Arial" pitchFamily="34" charset="0"/>
              </a:rPr>
              <a:t> 200).</a:t>
            </a:r>
            <a:endParaRPr lang="en-AU" sz="1800" kern="1200" dirty="0">
              <a:latin typeface="Arial" pitchFamily="34" charset="0"/>
              <a:ea typeface="+mn-ea"/>
              <a:cs typeface="Arial" pitchFamily="34" charset="0"/>
            </a:endParaRPr>
          </a:p>
        </p:txBody>
      </p:sp>
      <p:pic>
        <p:nvPicPr>
          <p:cNvPr id="3074" name="Picture 2">
            <a:extLst>
              <a:ext uri="{FF2B5EF4-FFF2-40B4-BE49-F238E27FC236}">
                <a16:creationId xmlns:a16="http://schemas.microsoft.com/office/drawing/2014/main" id="{77EEEE54-682D-E5A8-ED77-0BA6D68B6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403877"/>
            <a:ext cx="9420225" cy="561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5116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7920" y="159348"/>
            <a:ext cx="13767435" cy="1247400"/>
          </a:xfrm>
        </p:spPr>
        <p:txBody>
          <a:bodyPr/>
          <a:lstStyle/>
          <a:p>
            <a:r>
              <a:rPr lang="en-AU" dirty="0" err="1"/>
              <a:t>Perbedaan</a:t>
            </a:r>
            <a:r>
              <a:rPr lang="en-AU" dirty="0"/>
              <a:t> Utama </a:t>
            </a:r>
            <a:r>
              <a:rPr lang="en-AU" dirty="0" err="1"/>
              <a:t>dalam</a:t>
            </a:r>
            <a:r>
              <a:rPr lang="en-AU" dirty="0"/>
              <a:t> </a:t>
            </a:r>
            <a:r>
              <a:rPr lang="en-AU" dirty="0" err="1"/>
              <a:t>perilaku</a:t>
            </a:r>
            <a:r>
              <a:rPr lang="en-AU" dirty="0"/>
              <a:t> </a:t>
            </a:r>
            <a:r>
              <a:rPr lang="en-AU" dirty="0" err="1"/>
              <a:t>pembelian</a:t>
            </a:r>
            <a:r>
              <a:rPr lang="en-AU" dirty="0"/>
              <a:t> </a:t>
            </a:r>
            <a:r>
              <a:rPr lang="en-AU" dirty="0" err="1"/>
              <a:t>antara</a:t>
            </a:r>
            <a:r>
              <a:rPr lang="en-AU" dirty="0"/>
              <a:t> Web vs </a:t>
            </a:r>
            <a:r>
              <a:rPr lang="en-AU" dirty="0" err="1"/>
              <a:t>Catalog</a:t>
            </a:r>
            <a:r>
              <a:rPr lang="en-AU" dirty="0"/>
              <a:t> vs Store:</a:t>
            </a:r>
            <a:endParaRPr lang="en-US" dirty="0"/>
          </a:p>
        </p:txBody>
      </p:sp>
      <p:sp>
        <p:nvSpPr>
          <p:cNvPr id="16" name="Rectangle 15"/>
          <p:cNvSpPr/>
          <p:nvPr/>
        </p:nvSpPr>
        <p:spPr>
          <a:xfrm>
            <a:off x="1935579" y="3256389"/>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135000" rIns="27000" bIns="135000" rtlCol="0" anchor="ctr" anchorCtr="0"/>
          <a:lstStyle/>
          <a:p>
            <a:pPr algn="ctr"/>
            <a:r>
              <a:rPr lang="en-AU" sz="2100" b="1" dirty="0" err="1">
                <a:solidFill>
                  <a:srgbClr val="FFFFFF"/>
                </a:solidFill>
                <a:cs typeface="Arial" pitchFamily="34" charset="0"/>
              </a:rPr>
              <a:t>Frekuensi</a:t>
            </a:r>
            <a:r>
              <a:rPr lang="en-AU" sz="2100" b="1" dirty="0">
                <a:solidFill>
                  <a:srgbClr val="FFFFFF"/>
                </a:solidFill>
                <a:cs typeface="Arial" pitchFamily="34" charset="0"/>
              </a:rPr>
              <a:t> </a:t>
            </a:r>
            <a:r>
              <a:rPr lang="en-AU" sz="2100" b="1" dirty="0" err="1">
                <a:solidFill>
                  <a:srgbClr val="FFFFFF"/>
                </a:solidFill>
                <a:cs typeface="Arial" pitchFamily="34" charset="0"/>
              </a:rPr>
              <a:t>Pembelian</a:t>
            </a:r>
            <a:endParaRPr lang="en-AU" sz="2100" b="1" dirty="0">
              <a:solidFill>
                <a:srgbClr val="FFFFFF"/>
              </a:solidFill>
              <a:cs typeface="Arial" pitchFamily="34" charset="0"/>
            </a:endParaRPr>
          </a:p>
        </p:txBody>
      </p:sp>
      <p:sp>
        <p:nvSpPr>
          <p:cNvPr id="17" name="Rectangle 16"/>
          <p:cNvSpPr/>
          <p:nvPr/>
        </p:nvSpPr>
        <p:spPr>
          <a:xfrm>
            <a:off x="5630276" y="3256388"/>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r>
              <a:rPr lang="en-AU" sz="2100" b="1" dirty="0">
                <a:solidFill>
                  <a:srgbClr val="FFFFFF"/>
                </a:solidFill>
                <a:cs typeface="Arial" pitchFamily="34" charset="0"/>
              </a:rPr>
              <a:t>Rata-rata </a:t>
            </a:r>
            <a:r>
              <a:rPr lang="en-AU" sz="2100" b="1" dirty="0" err="1">
                <a:solidFill>
                  <a:srgbClr val="FFFFFF"/>
                </a:solidFill>
                <a:cs typeface="Arial" pitchFamily="34" charset="0"/>
              </a:rPr>
              <a:t>Pengeluraan</a:t>
            </a:r>
            <a:r>
              <a:rPr lang="en-AU" sz="2100" b="1" dirty="0">
                <a:solidFill>
                  <a:srgbClr val="FFFFFF"/>
                </a:solidFill>
                <a:cs typeface="Arial" pitchFamily="34" charset="0"/>
              </a:rPr>
              <a:t> per </a:t>
            </a:r>
            <a:r>
              <a:rPr lang="en-AU" sz="2100" b="1" dirty="0" err="1">
                <a:solidFill>
                  <a:srgbClr val="FFFFFF"/>
                </a:solidFill>
                <a:cs typeface="Arial" pitchFamily="34" charset="0"/>
              </a:rPr>
              <a:t>Pembelian</a:t>
            </a:r>
            <a:endParaRPr lang="en-AU" sz="2100" b="1" dirty="0">
              <a:solidFill>
                <a:srgbClr val="FFFFFF"/>
              </a:solidFill>
              <a:cs typeface="Arial" pitchFamily="34" charset="0"/>
            </a:endParaRPr>
          </a:p>
        </p:txBody>
      </p:sp>
      <p:sp>
        <p:nvSpPr>
          <p:cNvPr id="18" name="Rectangle 17"/>
          <p:cNvSpPr/>
          <p:nvPr/>
        </p:nvSpPr>
        <p:spPr>
          <a:xfrm>
            <a:off x="9175182" y="3256387"/>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0" tIns="135000" rIns="54000" bIns="135000" rtlCol="0" anchor="ctr" anchorCtr="0"/>
          <a:lstStyle/>
          <a:p>
            <a:pPr algn="ctr"/>
            <a:r>
              <a:rPr lang="en-AU" sz="2100" b="1" dirty="0" err="1">
                <a:solidFill>
                  <a:schemeClr val="bg1"/>
                </a:solidFill>
                <a:cs typeface="Arial" pitchFamily="34" charset="0"/>
              </a:rPr>
              <a:t>Pengaruh</a:t>
            </a:r>
            <a:r>
              <a:rPr lang="en-AU" sz="2100" b="1" dirty="0">
                <a:solidFill>
                  <a:schemeClr val="bg1"/>
                </a:solidFill>
                <a:cs typeface="Arial" pitchFamily="34" charset="0"/>
              </a:rPr>
              <a:t> </a:t>
            </a:r>
            <a:r>
              <a:rPr lang="en-AU" sz="2100" b="1" dirty="0" err="1">
                <a:solidFill>
                  <a:schemeClr val="bg1"/>
                </a:solidFill>
                <a:cs typeface="Arial" pitchFamily="34" charset="0"/>
              </a:rPr>
              <a:t>Sosial</a:t>
            </a:r>
            <a:r>
              <a:rPr lang="en-AU" sz="2100" b="1" dirty="0">
                <a:solidFill>
                  <a:schemeClr val="bg1"/>
                </a:solidFill>
                <a:cs typeface="Arial" pitchFamily="34" charset="0"/>
              </a:rPr>
              <a:t>  (Complaints)</a:t>
            </a:r>
          </a:p>
        </p:txBody>
      </p:sp>
      <p:sp>
        <p:nvSpPr>
          <p:cNvPr id="19" name="Rectangle 18"/>
          <p:cNvSpPr/>
          <p:nvPr/>
        </p:nvSpPr>
        <p:spPr>
          <a:xfrm>
            <a:off x="12720088" y="3256386"/>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r>
              <a:rPr lang="en-AU" sz="2100" b="1" dirty="0" err="1">
                <a:solidFill>
                  <a:srgbClr val="FFFFFF"/>
                </a:solidFill>
                <a:cs typeface="Arial" pitchFamily="34" charset="0"/>
              </a:rPr>
              <a:t>Kampanye</a:t>
            </a:r>
            <a:r>
              <a:rPr lang="en-AU" sz="2100" b="1" dirty="0">
                <a:solidFill>
                  <a:srgbClr val="FFFFFF"/>
                </a:solidFill>
                <a:cs typeface="Arial" pitchFamily="34" charset="0"/>
              </a:rPr>
              <a:t> </a:t>
            </a:r>
            <a:r>
              <a:rPr lang="en-AU" sz="2100" b="1" dirty="0" err="1">
                <a:solidFill>
                  <a:srgbClr val="FFFFFF"/>
                </a:solidFill>
                <a:cs typeface="Arial" pitchFamily="34" charset="0"/>
              </a:rPr>
              <a:t>Pemasaran</a:t>
            </a:r>
            <a:endParaRPr lang="en-AU" sz="2100" b="1" dirty="0">
              <a:solidFill>
                <a:srgbClr val="FFFFFF"/>
              </a:solidFill>
              <a:cs typeface="Arial" pitchFamily="34" charset="0"/>
            </a:endParaRPr>
          </a:p>
        </p:txBody>
      </p:sp>
      <p:sp>
        <p:nvSpPr>
          <p:cNvPr id="24" name="Rectangle 23"/>
          <p:cNvSpPr/>
          <p:nvPr/>
        </p:nvSpPr>
        <p:spPr>
          <a:xfrm>
            <a:off x="8127432" y="1016580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AU" sz="2100" dirty="0">
              <a:solidFill>
                <a:srgbClr val="000000"/>
              </a:solidFill>
              <a:latin typeface="Arial" pitchFamily="34" charset="0"/>
              <a:cs typeface="Arial" pitchFamily="34" charset="0"/>
            </a:endParaRPr>
          </a:p>
        </p:txBody>
      </p:sp>
      <p:sp>
        <p:nvSpPr>
          <p:cNvPr id="6" name="ColumnHeader">
            <a:extLst>
              <a:ext uri="{FF2B5EF4-FFF2-40B4-BE49-F238E27FC236}">
                <a16:creationId xmlns:a16="http://schemas.microsoft.com/office/drawing/2014/main" id="{D5179413-E614-6C96-4210-FCCD19305EE8}"/>
              </a:ext>
            </a:extLst>
          </p:cNvPr>
          <p:cNvSpPr>
            <a:spLocks noChangeArrowheads="1"/>
          </p:cNvSpPr>
          <p:nvPr/>
        </p:nvSpPr>
        <p:spPr bwMode="gray">
          <a:xfrm>
            <a:off x="1736931" y="8613592"/>
            <a:ext cx="14136481"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a:latin typeface="+mj-lt"/>
              </a:rPr>
              <a:t>Slide </a:t>
            </a:r>
            <a:r>
              <a:rPr lang="en-ID" sz="2000" dirty="0" err="1">
                <a:latin typeface="+mj-lt"/>
              </a:rPr>
              <a:t>berikutnya</a:t>
            </a:r>
            <a:r>
              <a:rPr lang="en-ID" sz="2000" dirty="0">
                <a:latin typeface="+mj-lt"/>
              </a:rPr>
              <a:t> </a:t>
            </a:r>
            <a:r>
              <a:rPr lang="en-ID" sz="2000" dirty="0" err="1">
                <a:latin typeface="+mj-lt"/>
              </a:rPr>
              <a:t>akan</a:t>
            </a:r>
            <a:r>
              <a:rPr lang="en-ID" sz="2000" dirty="0">
                <a:latin typeface="+mj-lt"/>
              </a:rPr>
              <a:t> </a:t>
            </a:r>
            <a:r>
              <a:rPr lang="en-ID" sz="2000" dirty="0" err="1">
                <a:latin typeface="+mj-lt"/>
              </a:rPr>
              <a:t>membahas</a:t>
            </a:r>
            <a:r>
              <a:rPr lang="en-ID" sz="2000" dirty="0">
                <a:latin typeface="+mj-lt"/>
              </a:rPr>
              <a:t> </a:t>
            </a:r>
            <a:r>
              <a:rPr lang="en-ID" sz="2000" dirty="0" err="1">
                <a:latin typeface="+mj-lt"/>
              </a:rPr>
              <a:t>bagaimana</a:t>
            </a:r>
            <a:r>
              <a:rPr lang="en-ID" sz="2000" dirty="0">
                <a:latin typeface="+mj-lt"/>
              </a:rPr>
              <a:t> </a:t>
            </a:r>
            <a:r>
              <a:rPr lang="en-ID" sz="2000" dirty="0" err="1">
                <a:latin typeface="+mj-lt"/>
              </a:rPr>
              <a:t>kita</a:t>
            </a:r>
            <a:r>
              <a:rPr lang="en-ID" sz="2000" dirty="0">
                <a:latin typeface="+mj-lt"/>
              </a:rPr>
              <a:t> </a:t>
            </a:r>
            <a:r>
              <a:rPr lang="sv-SE" sz="2000" b="0" i="0" dirty="0">
                <a:solidFill>
                  <a:srgbClr val="212121"/>
                </a:solidFill>
                <a:effectLst/>
                <a:highlight>
                  <a:srgbClr val="FFFFFF"/>
                </a:highlight>
                <a:latin typeface="+mj-lt"/>
              </a:rPr>
              <a:t>menetapkan target realistis dalam meningkatkan Frekuensi Pembelian, Rata-rata Pengeluaran, Pengaruh Sosial (Complaints), dan Efektivitas Kampanye Pemasaran dalam konteks supermarket</a:t>
            </a:r>
            <a:endParaRPr lang="en-AU" sz="2000" b="1" kern="1200" dirty="0">
              <a:latin typeface="+mj-lt"/>
              <a:ea typeface="+mn-ea"/>
              <a:cs typeface="Arial"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6B29E-D5BD-46F7-4BF5-B3E6E8BC7C3A}"/>
              </a:ext>
            </a:extLst>
          </p:cNvPr>
          <p:cNvSpPr>
            <a:spLocks noGrp="1"/>
          </p:cNvSpPr>
          <p:nvPr>
            <p:ph type="title"/>
          </p:nvPr>
        </p:nvSpPr>
        <p:spPr/>
        <p:txBody>
          <a:bodyPr/>
          <a:lstStyle/>
          <a:p>
            <a:br>
              <a:rPr lang="en-ID" dirty="0">
                <a:highlight>
                  <a:srgbClr val="FFFFFF"/>
                </a:highlight>
              </a:rPr>
            </a:br>
            <a:r>
              <a:rPr lang="en-ID" i="0" dirty="0" err="1">
                <a:effectLst/>
                <a:highlight>
                  <a:srgbClr val="FFFFFF"/>
                </a:highlight>
              </a:rPr>
              <a:t>Terapkan</a:t>
            </a:r>
            <a:r>
              <a:rPr lang="en-ID" i="0" dirty="0">
                <a:effectLst/>
                <a:highlight>
                  <a:srgbClr val="FFFFFF"/>
                </a:highlight>
              </a:rPr>
              <a:t> strategi </a:t>
            </a:r>
            <a:r>
              <a:rPr lang="en-ID" i="0" dirty="0" err="1">
                <a:effectLst/>
                <a:highlight>
                  <a:srgbClr val="FFFFFF"/>
                </a:highlight>
              </a:rPr>
              <a:t>keterlibatan</a:t>
            </a:r>
            <a:r>
              <a:rPr lang="en-ID" i="0" dirty="0">
                <a:effectLst/>
                <a:highlight>
                  <a:srgbClr val="FFFFFF"/>
                </a:highlight>
              </a:rPr>
              <a:t> </a:t>
            </a:r>
            <a:r>
              <a:rPr lang="en-ID" i="0" dirty="0" err="1">
                <a:effectLst/>
                <a:highlight>
                  <a:srgbClr val="FFFFFF"/>
                </a:highlight>
              </a:rPr>
              <a:t>pasca-pembelian</a:t>
            </a:r>
            <a:r>
              <a:rPr lang="en-ID" i="0" dirty="0">
                <a:effectLst/>
                <a:highlight>
                  <a:srgbClr val="FFFFFF"/>
                </a:highlight>
              </a:rPr>
              <a:t> yang </a:t>
            </a:r>
            <a:r>
              <a:rPr lang="en-ID" i="0" dirty="0" err="1">
                <a:effectLst/>
                <a:highlight>
                  <a:srgbClr val="FFFFFF"/>
                </a:highlight>
              </a:rPr>
              <a:t>dipersonalisasi</a:t>
            </a:r>
            <a:r>
              <a:rPr lang="en-ID" dirty="0">
                <a:highlight>
                  <a:srgbClr val="FFFFFF"/>
                </a:highlight>
              </a:rPr>
              <a:t> </a:t>
            </a:r>
            <a:r>
              <a:rPr lang="en-ID" dirty="0" err="1">
                <a:highlight>
                  <a:srgbClr val="FFFFFF"/>
                </a:highlight>
              </a:rPr>
              <a:t>dalam</a:t>
            </a:r>
            <a:r>
              <a:rPr lang="en-ID" dirty="0">
                <a:highlight>
                  <a:srgbClr val="FFFFFF"/>
                </a:highlight>
              </a:rPr>
              <a:t> </a:t>
            </a:r>
            <a:r>
              <a:rPr lang="en-ID" dirty="0" err="1">
                <a:highlight>
                  <a:srgbClr val="FFFFFF"/>
                </a:highlight>
              </a:rPr>
              <a:t>mempertahankan</a:t>
            </a:r>
            <a:r>
              <a:rPr lang="en-ID" dirty="0">
                <a:highlight>
                  <a:srgbClr val="FFFFFF"/>
                </a:highlight>
              </a:rPr>
              <a:t> dan </a:t>
            </a:r>
            <a:r>
              <a:rPr lang="en-ID" dirty="0" err="1">
                <a:highlight>
                  <a:srgbClr val="FFFFFF"/>
                </a:highlight>
              </a:rPr>
              <a:t>meningkatkan</a:t>
            </a:r>
            <a:r>
              <a:rPr lang="en-ID" dirty="0">
                <a:highlight>
                  <a:srgbClr val="FFFFFF"/>
                </a:highlight>
              </a:rPr>
              <a:t> </a:t>
            </a:r>
            <a:r>
              <a:rPr lang="en-ID" dirty="0" err="1">
                <a:highlight>
                  <a:srgbClr val="FFFFFF"/>
                </a:highlight>
              </a:rPr>
              <a:t>Frekuensi</a:t>
            </a:r>
            <a:r>
              <a:rPr lang="en-ID" dirty="0">
                <a:highlight>
                  <a:srgbClr val="FFFFFF"/>
                </a:highlight>
              </a:rPr>
              <a:t> </a:t>
            </a:r>
            <a:r>
              <a:rPr lang="en-ID" dirty="0" err="1">
                <a:highlight>
                  <a:srgbClr val="FFFFFF"/>
                </a:highlight>
              </a:rPr>
              <a:t>Pembelian</a:t>
            </a:r>
            <a:endParaRPr lang="en-ID" dirty="0"/>
          </a:p>
        </p:txBody>
      </p:sp>
      <p:sp>
        <p:nvSpPr>
          <p:cNvPr id="3" name="Text Placeholder 2">
            <a:extLst>
              <a:ext uri="{FF2B5EF4-FFF2-40B4-BE49-F238E27FC236}">
                <a16:creationId xmlns:a16="http://schemas.microsoft.com/office/drawing/2014/main" id="{83575DC4-6A99-9836-8840-05FE186747F0}"/>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rPr>
              <a:t> Target: </a:t>
            </a:r>
            <a:r>
              <a:rPr lang="en-ID" b="0" i="0" dirty="0" err="1">
                <a:solidFill>
                  <a:srgbClr val="212121"/>
                </a:solidFill>
                <a:effectLst/>
                <a:highlight>
                  <a:srgbClr val="FFFFFF"/>
                </a:highlight>
              </a:rPr>
              <a:t>Tingka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tingkat</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beli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ulang</a:t>
            </a:r>
            <a:r>
              <a:rPr lang="en-ID" b="0" i="0" dirty="0">
                <a:solidFill>
                  <a:srgbClr val="212121"/>
                </a:solidFill>
                <a:effectLst/>
                <a:highlight>
                  <a:srgbClr val="FFFFFF"/>
                </a:highlight>
              </a:rPr>
              <a:t> (repeat purchase rate) </a:t>
            </a:r>
            <a:r>
              <a:rPr lang="en-ID" b="0" i="0" dirty="0" err="1">
                <a:solidFill>
                  <a:srgbClr val="212121"/>
                </a:solidFill>
                <a:effectLst/>
                <a:highlight>
                  <a:srgbClr val="FFFFFF"/>
                </a:highlight>
              </a:rPr>
              <a:t>setidaknya</a:t>
            </a:r>
            <a:r>
              <a:rPr lang="en-ID" b="0" i="0" dirty="0">
                <a:solidFill>
                  <a:srgbClr val="212121"/>
                </a:solidFill>
                <a:effectLst/>
                <a:highlight>
                  <a:srgbClr val="FFFFFF"/>
                </a:highlight>
              </a:rPr>
              <a:t> 5-10% per </a:t>
            </a:r>
            <a:r>
              <a:rPr lang="en-ID" b="0" i="0" dirty="0" err="1">
                <a:solidFill>
                  <a:srgbClr val="212121"/>
                </a:solidFill>
                <a:effectLst/>
                <a:highlight>
                  <a:srgbClr val="FFFFFF"/>
                </a:highlight>
              </a:rPr>
              <a:t>tahun</a:t>
            </a:r>
            <a:r>
              <a:rPr lang="en-ID" b="0" i="0" dirty="0">
                <a:solidFill>
                  <a:srgbClr val="212121"/>
                </a:solidFill>
                <a:effectLst/>
                <a:highlight>
                  <a:srgbClr val="FFFFFF"/>
                </a:highlight>
              </a:rPr>
              <a:t>.</a:t>
            </a:r>
          </a:p>
          <a:p>
            <a:pPr algn="l"/>
            <a:endParaRPr lang="en-ID" b="0" i="0" dirty="0">
              <a:solidFill>
                <a:srgbClr val="212121"/>
              </a:solidFill>
              <a:effectLst/>
              <a:highlight>
                <a:srgbClr val="FFFFFF"/>
              </a:highlight>
            </a:endParaRPr>
          </a:p>
          <a:p>
            <a:pPr>
              <a:buFont typeface="Arial" panose="020B0604020202020204" pitchFamily="34" charset="0"/>
              <a:buChar char="•"/>
            </a:pPr>
            <a:r>
              <a:rPr lang="en-ID" b="0" i="0" dirty="0">
                <a:solidFill>
                  <a:srgbClr val="212121"/>
                </a:solidFill>
                <a:effectLst/>
                <a:highlight>
                  <a:srgbClr val="FFFFFF"/>
                </a:highlight>
              </a:rPr>
              <a:t> Strategi: </a:t>
            </a:r>
            <a:r>
              <a:rPr lang="en-ID" b="0" i="0" dirty="0" err="1">
                <a:solidFill>
                  <a:srgbClr val="212121"/>
                </a:solidFill>
                <a:effectLst/>
                <a:highlight>
                  <a:srgbClr val="FFFFFF"/>
                </a:highlight>
              </a:rPr>
              <a:t>Terapkan</a:t>
            </a:r>
            <a:r>
              <a:rPr lang="en-ID" b="0" i="0" dirty="0">
                <a:solidFill>
                  <a:srgbClr val="212121"/>
                </a:solidFill>
                <a:effectLst/>
                <a:highlight>
                  <a:srgbClr val="FFFFFF"/>
                </a:highlight>
              </a:rPr>
              <a:t> strategi </a:t>
            </a:r>
            <a:r>
              <a:rPr lang="en-ID" b="0" i="0" dirty="0" err="1">
                <a:solidFill>
                  <a:srgbClr val="212121"/>
                </a:solidFill>
                <a:effectLst/>
                <a:highlight>
                  <a:srgbClr val="FFFFFF"/>
                </a:highlight>
              </a:rPr>
              <a:t>keterlibat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asca-pembelian</a:t>
            </a:r>
            <a:r>
              <a:rPr lang="en-ID" b="0" i="0" dirty="0">
                <a:solidFill>
                  <a:srgbClr val="212121"/>
                </a:solidFill>
                <a:effectLst/>
                <a:highlight>
                  <a:srgbClr val="FFFFFF"/>
                </a:highlight>
              </a:rPr>
              <a:t> yang </a:t>
            </a:r>
            <a:r>
              <a:rPr lang="en-ID" b="0" i="0" dirty="0" err="1">
                <a:solidFill>
                  <a:srgbClr val="212121"/>
                </a:solidFill>
                <a:effectLst/>
                <a:highlight>
                  <a:srgbClr val="FFFFFF"/>
                </a:highlight>
              </a:rPr>
              <a:t>dipersonalisa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Ini</a:t>
            </a:r>
            <a:r>
              <a:rPr lang="en-ID" b="0" i="0" dirty="0">
                <a:solidFill>
                  <a:srgbClr val="212121"/>
                </a:solidFill>
                <a:effectLst/>
                <a:highlight>
                  <a:srgbClr val="FFFFFF"/>
                </a:highlight>
              </a:rPr>
              <a:t> </a:t>
            </a:r>
            <a:r>
              <a:rPr lang="en-ID" b="0" i="0" dirty="0" err="1">
                <a:solidFill>
                  <a:srgbClr val="212121"/>
                </a:solidFill>
                <a:effectLst/>
                <a:highlight>
                  <a:srgbClr val="FFFFFF"/>
                </a:highlight>
              </a:rPr>
              <a:t>bisa</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cakup</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ngirim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ngingat</a:t>
            </a:r>
            <a:r>
              <a:rPr lang="en-ID" b="0" i="0" dirty="0">
                <a:solidFill>
                  <a:srgbClr val="212121"/>
                </a:solidFill>
                <a:effectLst/>
                <a:highlight>
                  <a:srgbClr val="FFFFFF"/>
                </a:highlight>
              </a:rPr>
              <a:t> yang </a:t>
            </a:r>
            <a:r>
              <a:rPr lang="en-ID" b="0" i="0" dirty="0" err="1">
                <a:solidFill>
                  <a:srgbClr val="212121"/>
                </a:solidFill>
                <a:effectLst/>
                <a:highlight>
                  <a:srgbClr val="FFFFFF"/>
                </a:highlight>
              </a:rPr>
              <a:t>ditarge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berdasar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ola</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beli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langg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perti</a:t>
            </a:r>
            <a:r>
              <a:rPr lang="en-ID" b="0" i="0" dirty="0">
                <a:solidFill>
                  <a:srgbClr val="212121"/>
                </a:solidFill>
                <a:effectLst/>
                <a:highlight>
                  <a:srgbClr val="FFFFFF"/>
                </a:highlight>
              </a:rPr>
              <a:t> saran </a:t>
            </a:r>
            <a:r>
              <a:rPr lang="en-ID" b="0" i="0" dirty="0" err="1">
                <a:solidFill>
                  <a:srgbClr val="212121"/>
                </a:solidFill>
                <a:effectLst/>
                <a:highlight>
                  <a:srgbClr val="FFFFFF"/>
                </a:highlight>
              </a:rPr>
              <a:t>produk</a:t>
            </a:r>
            <a:r>
              <a:rPr lang="en-ID" b="0" i="0" dirty="0">
                <a:solidFill>
                  <a:srgbClr val="212121"/>
                </a:solidFill>
                <a:effectLst/>
                <a:highlight>
                  <a:srgbClr val="FFFFFF"/>
                </a:highlight>
              </a:rPr>
              <a:t> </a:t>
            </a:r>
            <a:r>
              <a:rPr lang="en-ID" b="0" i="0" dirty="0" err="1">
                <a:solidFill>
                  <a:srgbClr val="212121"/>
                </a:solidFill>
                <a:effectLst/>
                <a:highlight>
                  <a:srgbClr val="FFFFFF"/>
                </a:highlight>
              </a:rPr>
              <a:t>terkait</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lain</a:t>
            </a:r>
            <a:r>
              <a:rPr lang="en-ID" b="0" i="0" dirty="0">
                <a:solidFill>
                  <a:srgbClr val="212121"/>
                </a:solidFill>
                <a:effectLst/>
                <a:highlight>
                  <a:srgbClr val="FFFFFF"/>
                </a:highlight>
              </a:rPr>
              <a:t> </a:t>
            </a:r>
            <a:r>
              <a:rPr lang="en-ID" b="0" i="0" dirty="0" err="1">
                <a:solidFill>
                  <a:srgbClr val="212121"/>
                </a:solidFill>
                <a:effectLst/>
                <a:highlight>
                  <a:srgbClr val="FFFFFF"/>
                </a:highlight>
              </a:rPr>
              <a:t>itu</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gguna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otomatisa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asar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untuk</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micu</a:t>
            </a:r>
            <a:r>
              <a:rPr lang="en-ID" b="0" i="0" dirty="0">
                <a:solidFill>
                  <a:srgbClr val="212121"/>
                </a:solidFill>
                <a:effectLst/>
                <a:highlight>
                  <a:srgbClr val="FFFFFF"/>
                </a:highlight>
              </a:rPr>
              <a:t> </a:t>
            </a:r>
            <a:r>
              <a:rPr lang="en-ID" b="0" i="0" dirty="0" err="1">
                <a:solidFill>
                  <a:srgbClr val="212121"/>
                </a:solidFill>
                <a:effectLst/>
                <a:highlight>
                  <a:srgbClr val="FFFFFF"/>
                </a:highlight>
              </a:rPr>
              <a:t>tinda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cara</a:t>
            </a:r>
            <a:r>
              <a:rPr lang="en-ID" b="0" i="0" dirty="0">
                <a:solidFill>
                  <a:srgbClr val="212121"/>
                </a:solidFill>
                <a:effectLst/>
                <a:highlight>
                  <a:srgbClr val="FFFFFF"/>
                </a:highlight>
              </a:rPr>
              <a:t> real-time </a:t>
            </a:r>
            <a:r>
              <a:rPr lang="en-ID" b="0" i="0" dirty="0" err="1">
                <a:solidFill>
                  <a:srgbClr val="212121"/>
                </a:solidFill>
                <a:effectLst/>
                <a:highlight>
                  <a:srgbClr val="FFFFFF"/>
                </a:highlight>
              </a:rPr>
              <a:t>dapat</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cara</a:t>
            </a:r>
            <a:r>
              <a:rPr lang="en-ID" b="0" i="0" dirty="0">
                <a:solidFill>
                  <a:srgbClr val="212121"/>
                </a:solidFill>
                <a:effectLst/>
                <a:highlight>
                  <a:srgbClr val="FFFFFF"/>
                </a:highlight>
              </a:rPr>
              <a:t> </a:t>
            </a:r>
            <a:r>
              <a:rPr lang="en-ID" b="0" i="0" dirty="0" err="1">
                <a:solidFill>
                  <a:srgbClr val="212121"/>
                </a:solidFill>
                <a:effectLst/>
                <a:highlight>
                  <a:srgbClr val="FFFFFF"/>
                </a:highlight>
              </a:rPr>
              <a:t>signifi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ingka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reten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langgan</a:t>
            </a:r>
            <a:r>
              <a:rPr lang="en-ID" b="0" i="0" dirty="0">
                <a:solidFill>
                  <a:srgbClr val="212121"/>
                </a:solidFill>
                <a:effectLst/>
                <a:highlight>
                  <a:srgbClr val="FFFFFF"/>
                </a:highlight>
              </a:rPr>
              <a:t>.</a:t>
            </a:r>
          </a:p>
          <a:p>
            <a:pPr>
              <a:buFont typeface="Arial" panose="020B0604020202020204" pitchFamily="34" charset="0"/>
              <a:buChar char="•"/>
            </a:pPr>
            <a:endParaRPr lang="en-ID" b="0" dirty="0">
              <a:solidFill>
                <a:srgbClr val="212121"/>
              </a:solidFill>
              <a:highlight>
                <a:srgbClr val="FFFFFF"/>
              </a:highlight>
            </a:endParaRPr>
          </a:p>
          <a:p>
            <a:r>
              <a:rPr lang="en-ID" b="0" dirty="0"/>
              <a:t>Strategi </a:t>
            </a:r>
            <a:r>
              <a:rPr lang="en-ID" b="0" dirty="0" err="1"/>
              <a:t>keterlibatan</a:t>
            </a:r>
            <a:r>
              <a:rPr lang="en-ID" b="0" dirty="0"/>
              <a:t> </a:t>
            </a:r>
            <a:r>
              <a:rPr lang="en-ID" b="0" dirty="0" err="1"/>
              <a:t>pasca-pembelian</a:t>
            </a:r>
            <a:r>
              <a:rPr lang="en-ID" b="0" dirty="0"/>
              <a:t> yang </a:t>
            </a:r>
            <a:r>
              <a:rPr lang="en-ID" b="0" dirty="0" err="1"/>
              <a:t>dipersonalisasi</a:t>
            </a:r>
            <a:r>
              <a:rPr lang="en-ID" b="0" dirty="0"/>
              <a:t> </a:t>
            </a:r>
            <a:r>
              <a:rPr lang="en-ID" b="0" dirty="0" err="1"/>
              <a:t>adalah</a:t>
            </a:r>
            <a:r>
              <a:rPr lang="en-ID" b="0" dirty="0"/>
              <a:t> </a:t>
            </a:r>
            <a:r>
              <a:rPr lang="en-ID" b="0" dirty="0" err="1"/>
              <a:t>pendekatan</a:t>
            </a:r>
            <a:r>
              <a:rPr lang="en-ID" b="0" dirty="0"/>
              <a:t> yang </a:t>
            </a:r>
            <a:r>
              <a:rPr lang="en-ID" b="0" dirty="0" err="1"/>
              <a:t>digunakan</a:t>
            </a:r>
            <a:r>
              <a:rPr lang="en-ID" b="0" dirty="0"/>
              <a:t> oleh </a:t>
            </a:r>
            <a:r>
              <a:rPr lang="en-ID" b="0" dirty="0" err="1"/>
              <a:t>perusahaan</a:t>
            </a:r>
            <a:r>
              <a:rPr lang="en-ID" b="0" dirty="0"/>
              <a:t> </a:t>
            </a:r>
            <a:r>
              <a:rPr lang="en-ID" b="0" dirty="0" err="1"/>
              <a:t>untuk</a:t>
            </a:r>
            <a:r>
              <a:rPr lang="en-ID" b="0" dirty="0"/>
              <a:t> </a:t>
            </a:r>
            <a:r>
              <a:rPr lang="en-ID" b="0" dirty="0" err="1"/>
              <a:t>tetap</a:t>
            </a:r>
            <a:r>
              <a:rPr lang="en-ID" b="0" dirty="0"/>
              <a:t> </a:t>
            </a:r>
            <a:r>
              <a:rPr lang="en-ID" b="0" dirty="0" err="1"/>
              <a:t>berinteraksi</a:t>
            </a:r>
            <a:r>
              <a:rPr lang="en-ID" b="0" dirty="0"/>
              <a:t> </a:t>
            </a:r>
            <a:r>
              <a:rPr lang="en-ID" b="0" dirty="0" err="1"/>
              <a:t>dengan</a:t>
            </a:r>
            <a:r>
              <a:rPr lang="en-ID" b="0" dirty="0"/>
              <a:t> </a:t>
            </a:r>
            <a:r>
              <a:rPr lang="en-ID" b="0" dirty="0" err="1"/>
              <a:t>pelanggan</a:t>
            </a:r>
            <a:r>
              <a:rPr lang="en-ID" b="0" dirty="0"/>
              <a:t> </a:t>
            </a:r>
            <a:r>
              <a:rPr lang="en-ID" b="0" dirty="0" err="1"/>
              <a:t>setelah</a:t>
            </a:r>
            <a:r>
              <a:rPr lang="en-ID" b="0" dirty="0"/>
              <a:t> </a:t>
            </a:r>
            <a:r>
              <a:rPr lang="en-ID" b="0" dirty="0" err="1"/>
              <a:t>mereka</a:t>
            </a:r>
            <a:r>
              <a:rPr lang="en-ID" b="0" dirty="0"/>
              <a:t> </a:t>
            </a:r>
            <a:r>
              <a:rPr lang="en-ID" b="0" dirty="0" err="1"/>
              <a:t>melakukan</a:t>
            </a:r>
            <a:r>
              <a:rPr lang="en-ID" b="0" dirty="0"/>
              <a:t> </a:t>
            </a:r>
            <a:r>
              <a:rPr lang="en-ID" b="0" dirty="0" err="1"/>
              <a:t>pembelian</a:t>
            </a:r>
            <a:r>
              <a:rPr lang="en-ID" b="0" dirty="0"/>
              <a:t>, </a:t>
            </a:r>
            <a:r>
              <a:rPr lang="en-ID" b="0" dirty="0" err="1"/>
              <a:t>dengan</a:t>
            </a:r>
            <a:r>
              <a:rPr lang="en-ID" b="0" dirty="0"/>
              <a:t> </a:t>
            </a:r>
            <a:r>
              <a:rPr lang="en-ID" b="0" dirty="0" err="1"/>
              <a:t>cara</a:t>
            </a:r>
            <a:r>
              <a:rPr lang="en-ID" b="0" dirty="0"/>
              <a:t> yang </a:t>
            </a:r>
            <a:r>
              <a:rPr lang="en-ID" b="0" dirty="0" err="1"/>
              <a:t>disesuaikan</a:t>
            </a:r>
            <a:r>
              <a:rPr lang="en-ID" b="0" dirty="0"/>
              <a:t> </a:t>
            </a:r>
            <a:r>
              <a:rPr lang="en-ID" b="0" dirty="0" err="1"/>
              <a:t>dengan</a:t>
            </a:r>
            <a:r>
              <a:rPr lang="en-ID" b="0" dirty="0"/>
              <a:t> </a:t>
            </a:r>
            <a:r>
              <a:rPr lang="en-ID" b="0" dirty="0" err="1"/>
              <a:t>preferensi</a:t>
            </a:r>
            <a:r>
              <a:rPr lang="en-ID" b="0" dirty="0"/>
              <a:t>, </a:t>
            </a:r>
            <a:r>
              <a:rPr lang="en-ID" b="0" dirty="0" err="1"/>
              <a:t>kebutuhan</a:t>
            </a:r>
            <a:r>
              <a:rPr lang="en-ID" b="0" dirty="0"/>
              <a:t>, dan </a:t>
            </a:r>
            <a:r>
              <a:rPr lang="en-ID" b="0" dirty="0" err="1"/>
              <a:t>perilaku</a:t>
            </a:r>
            <a:r>
              <a:rPr lang="en-ID" b="0" dirty="0"/>
              <a:t> </a:t>
            </a:r>
            <a:r>
              <a:rPr lang="en-ID" b="0" dirty="0" err="1"/>
              <a:t>unik</a:t>
            </a:r>
            <a:r>
              <a:rPr lang="en-ID" b="0" dirty="0"/>
              <a:t> masing-masing </a:t>
            </a:r>
            <a:r>
              <a:rPr lang="en-ID" b="0" dirty="0" err="1"/>
              <a:t>pelanggan</a:t>
            </a:r>
            <a:r>
              <a:rPr lang="en-ID" b="0" dirty="0"/>
              <a:t>. </a:t>
            </a:r>
            <a:r>
              <a:rPr lang="en-ID" b="0" dirty="0" err="1"/>
              <a:t>Tujuannya</a:t>
            </a:r>
            <a:r>
              <a:rPr lang="en-ID" b="0" dirty="0"/>
              <a:t> </a:t>
            </a:r>
            <a:r>
              <a:rPr lang="en-ID" b="0" dirty="0" err="1"/>
              <a:t>adalah</a:t>
            </a:r>
            <a:r>
              <a:rPr lang="en-ID" b="0" dirty="0"/>
              <a:t> </a:t>
            </a:r>
            <a:r>
              <a:rPr lang="en-ID" b="0" dirty="0" err="1"/>
              <a:t>untuk</a:t>
            </a:r>
            <a:r>
              <a:rPr lang="en-ID" b="0" dirty="0"/>
              <a:t> </a:t>
            </a:r>
            <a:r>
              <a:rPr lang="en-ID" b="0" dirty="0" err="1"/>
              <a:t>membangun</a:t>
            </a:r>
            <a:r>
              <a:rPr lang="en-ID" b="0" dirty="0"/>
              <a:t> </a:t>
            </a:r>
            <a:r>
              <a:rPr lang="en-ID" b="0" dirty="0" err="1"/>
              <a:t>hubungan</a:t>
            </a:r>
            <a:r>
              <a:rPr lang="en-ID" b="0" dirty="0"/>
              <a:t> </a:t>
            </a:r>
            <a:r>
              <a:rPr lang="en-ID" b="0" dirty="0" err="1"/>
              <a:t>jangka</a:t>
            </a:r>
            <a:r>
              <a:rPr lang="en-ID" b="0" dirty="0"/>
              <a:t> </a:t>
            </a:r>
            <a:r>
              <a:rPr lang="en-ID" b="0" dirty="0" err="1"/>
              <a:t>panjang</a:t>
            </a:r>
            <a:r>
              <a:rPr lang="en-ID" b="0" dirty="0"/>
              <a:t>, </a:t>
            </a:r>
            <a:r>
              <a:rPr lang="en-ID" b="0" dirty="0" err="1"/>
              <a:t>meningkatkan</a:t>
            </a:r>
            <a:r>
              <a:rPr lang="en-ID" b="0" dirty="0"/>
              <a:t> </a:t>
            </a:r>
            <a:r>
              <a:rPr lang="en-ID" b="0" dirty="0" err="1"/>
              <a:t>loyalitas</a:t>
            </a:r>
            <a:r>
              <a:rPr lang="en-ID" b="0" dirty="0"/>
              <a:t> </a:t>
            </a:r>
            <a:r>
              <a:rPr lang="en-ID" b="0" dirty="0" err="1"/>
              <a:t>pelanggan</a:t>
            </a:r>
            <a:r>
              <a:rPr lang="en-ID" b="0" dirty="0"/>
              <a:t>, dan </a:t>
            </a:r>
            <a:r>
              <a:rPr lang="en-ID" b="0" dirty="0" err="1"/>
              <a:t>mendorong</a:t>
            </a:r>
            <a:r>
              <a:rPr lang="en-ID" b="0" dirty="0"/>
              <a:t> </a:t>
            </a:r>
            <a:r>
              <a:rPr lang="en-ID" b="0" dirty="0" err="1"/>
              <a:t>pembelian</a:t>
            </a:r>
            <a:r>
              <a:rPr lang="en-ID" b="0" dirty="0"/>
              <a:t> </a:t>
            </a:r>
            <a:r>
              <a:rPr lang="en-ID" b="0" dirty="0" err="1"/>
              <a:t>ulang</a:t>
            </a:r>
            <a:r>
              <a:rPr lang="en-ID" b="0" dirty="0"/>
              <a:t>.</a:t>
            </a:r>
            <a:endParaRPr lang="en-ID" b="0" i="0" dirty="0">
              <a:solidFill>
                <a:srgbClr val="212121"/>
              </a:solidFill>
              <a:effectLst/>
              <a:highlight>
                <a:srgbClr val="FFFFFF"/>
              </a:highlight>
            </a:endParaRPr>
          </a:p>
          <a:p>
            <a:pPr algn="l">
              <a:buFont typeface="Arial" panose="020B0604020202020204" pitchFamily="34" charset="0"/>
              <a:buChar char="•"/>
            </a:pPr>
            <a:endParaRPr lang="en-ID" b="0" i="0" dirty="0">
              <a:solidFill>
                <a:srgbClr val="212121"/>
              </a:solidFill>
              <a:effectLst/>
              <a:highlight>
                <a:srgbClr val="FFFFFF"/>
              </a:highlight>
              <a:latin typeface="+mj-lt"/>
            </a:endParaRPr>
          </a:p>
          <a:p>
            <a:br>
              <a:rPr lang="en-ID" dirty="0"/>
            </a:br>
            <a:endParaRPr lang="en-ID" dirty="0"/>
          </a:p>
        </p:txBody>
      </p:sp>
    </p:spTree>
    <p:extLst>
      <p:ext uri="{BB962C8B-B14F-4D97-AF65-F5344CB8AC3E}">
        <p14:creationId xmlns:p14="http://schemas.microsoft.com/office/powerpoint/2010/main" val="27434309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538D5-EDBF-2E51-07F4-09A54BFD1472}"/>
              </a:ext>
            </a:extLst>
          </p:cNvPr>
          <p:cNvSpPr>
            <a:spLocks noGrp="1"/>
          </p:cNvSpPr>
          <p:nvPr>
            <p:ph type="title"/>
          </p:nvPr>
        </p:nvSpPr>
        <p:spPr/>
        <p:txBody>
          <a:bodyPr/>
          <a:lstStyle/>
          <a:p>
            <a:r>
              <a:rPr lang="en-ID" i="0" dirty="0">
                <a:effectLst/>
                <a:highlight>
                  <a:srgbClr val="FFFFFF"/>
                </a:highlight>
              </a:rPr>
              <a:t>Strategi cross-sell dan up-sell sangat </a:t>
            </a:r>
            <a:r>
              <a:rPr lang="en-ID" i="0" dirty="0" err="1">
                <a:effectLst/>
                <a:highlight>
                  <a:srgbClr val="FFFFFF"/>
                </a:highlight>
              </a:rPr>
              <a:t>efektif</a:t>
            </a:r>
            <a:r>
              <a:rPr lang="en-ID" i="0" dirty="0">
                <a:effectLst/>
                <a:highlight>
                  <a:srgbClr val="FFFFFF"/>
                </a:highlight>
              </a:rPr>
              <a:t> </a:t>
            </a:r>
            <a:r>
              <a:rPr lang="en-ID" i="0" dirty="0" err="1">
                <a:effectLst/>
                <a:highlight>
                  <a:srgbClr val="FFFFFF"/>
                </a:highlight>
              </a:rPr>
              <a:t>untuk</a:t>
            </a:r>
            <a:r>
              <a:rPr lang="en-ID" i="0" dirty="0">
                <a:effectLst/>
                <a:highlight>
                  <a:srgbClr val="FFFFFF"/>
                </a:highlight>
              </a:rPr>
              <a:t> </a:t>
            </a:r>
            <a:r>
              <a:rPr lang="en-ID" i="0" dirty="0" err="1">
                <a:effectLst/>
                <a:highlight>
                  <a:srgbClr val="FFFFFF"/>
                </a:highlight>
              </a:rPr>
              <a:t>mempertahankan</a:t>
            </a:r>
            <a:r>
              <a:rPr lang="en-ID" i="0" dirty="0">
                <a:effectLst/>
                <a:highlight>
                  <a:srgbClr val="FFFFFF"/>
                </a:highlight>
              </a:rPr>
              <a:t> dan </a:t>
            </a:r>
            <a:r>
              <a:rPr lang="en-ID" i="0" dirty="0" err="1">
                <a:effectLst/>
                <a:highlight>
                  <a:srgbClr val="FFFFFF"/>
                </a:highlight>
              </a:rPr>
              <a:t>meningkatkan</a:t>
            </a:r>
            <a:r>
              <a:rPr lang="en-ID" i="0" dirty="0">
                <a:effectLst/>
                <a:highlight>
                  <a:srgbClr val="FFFFFF"/>
                </a:highlight>
              </a:rPr>
              <a:t> Rata-rata </a:t>
            </a:r>
            <a:r>
              <a:rPr lang="en-ID" dirty="0" err="1">
                <a:highlight>
                  <a:srgbClr val="FFFFFF"/>
                </a:highlight>
              </a:rPr>
              <a:t>P</a:t>
            </a:r>
            <a:r>
              <a:rPr lang="en-ID" i="0" dirty="0" err="1">
                <a:effectLst/>
                <a:highlight>
                  <a:srgbClr val="FFFFFF"/>
                </a:highlight>
              </a:rPr>
              <a:t>engeluaran</a:t>
            </a:r>
            <a:r>
              <a:rPr lang="en-ID" i="0" dirty="0">
                <a:effectLst/>
                <a:highlight>
                  <a:srgbClr val="FFFFFF"/>
                </a:highlight>
              </a:rPr>
              <a:t> per </a:t>
            </a:r>
            <a:r>
              <a:rPr lang="en-ID" i="0" dirty="0" err="1">
                <a:effectLst/>
                <a:highlight>
                  <a:srgbClr val="FFFFFF"/>
                </a:highlight>
              </a:rPr>
              <a:t>Pembelian</a:t>
            </a:r>
            <a:endParaRPr lang="en-ID" dirty="0"/>
          </a:p>
        </p:txBody>
      </p:sp>
      <p:sp>
        <p:nvSpPr>
          <p:cNvPr id="3" name="Text Placeholder 2">
            <a:extLst>
              <a:ext uri="{FF2B5EF4-FFF2-40B4-BE49-F238E27FC236}">
                <a16:creationId xmlns:a16="http://schemas.microsoft.com/office/drawing/2014/main" id="{E7C808FB-02EA-87DB-8026-9170676E57F2}"/>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ea typeface="Roboto" panose="02000000000000000000" pitchFamily="2" charset="0"/>
              </a:rPr>
              <a:t> Target: </a:t>
            </a:r>
            <a:r>
              <a:rPr lang="en-ID" b="0" i="0" dirty="0" err="1">
                <a:solidFill>
                  <a:srgbClr val="212121"/>
                </a:solidFill>
                <a:effectLst/>
                <a:highlight>
                  <a:srgbClr val="FFFFFF"/>
                </a:highlight>
                <a:ea typeface="Roboto" panose="02000000000000000000" pitchFamily="2" charset="0"/>
              </a:rPr>
              <a:t>Tetap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tuju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nt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ingkat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kur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keranjang</a:t>
            </a:r>
            <a:r>
              <a:rPr lang="en-ID" b="0" i="0" dirty="0">
                <a:solidFill>
                  <a:srgbClr val="212121"/>
                </a:solidFill>
                <a:effectLst/>
                <a:highlight>
                  <a:srgbClr val="FFFFFF"/>
                </a:highlight>
                <a:ea typeface="Roboto" panose="02000000000000000000" pitchFamily="2" charset="0"/>
              </a:rPr>
              <a:t> rata-rata </a:t>
            </a:r>
            <a:r>
              <a:rPr lang="en-ID" b="0" i="0" dirty="0" err="1">
                <a:solidFill>
                  <a:srgbClr val="212121"/>
                </a:solidFill>
                <a:effectLst/>
                <a:highlight>
                  <a:srgbClr val="FFFFFF"/>
                </a:highlight>
                <a:ea typeface="Roboto" panose="02000000000000000000" pitchFamily="2" charset="0"/>
              </a:rPr>
              <a:t>sebesar</a:t>
            </a:r>
            <a:r>
              <a:rPr lang="en-ID" b="0" i="0" dirty="0">
                <a:solidFill>
                  <a:srgbClr val="212121"/>
                </a:solidFill>
                <a:effectLst/>
                <a:highlight>
                  <a:srgbClr val="FFFFFF"/>
                </a:highlight>
                <a:ea typeface="Roboto" panose="02000000000000000000" pitchFamily="2" charset="0"/>
              </a:rPr>
              <a:t> 10-15%.</a:t>
            </a:r>
          </a:p>
          <a:p>
            <a:pPr algn="l"/>
            <a:endParaRPr lang="en-ID" b="0" i="0" dirty="0">
              <a:solidFill>
                <a:srgbClr val="212121"/>
              </a:solidFill>
              <a:effectLst/>
              <a:highlight>
                <a:srgbClr val="FFFFFF"/>
              </a:highlight>
              <a:ea typeface="Roboto" panose="02000000000000000000" pitchFamily="2" charset="0"/>
            </a:endParaRPr>
          </a:p>
          <a:p>
            <a:pPr algn="l">
              <a:buFont typeface="Arial" panose="020B0604020202020204" pitchFamily="34" charset="0"/>
              <a:buChar char="•"/>
            </a:pPr>
            <a:r>
              <a:rPr lang="en-ID" b="0" i="0" dirty="0">
                <a:solidFill>
                  <a:srgbClr val="212121"/>
                </a:solidFill>
                <a:effectLst/>
                <a:highlight>
                  <a:srgbClr val="FFFFFF"/>
                </a:highlight>
                <a:ea typeface="Roboto" panose="02000000000000000000" pitchFamily="2" charset="0"/>
              </a:rPr>
              <a:t> Strategi: Strategi cross-sell dan up-sell sangat </a:t>
            </a:r>
            <a:r>
              <a:rPr lang="en-ID" b="0" i="0" dirty="0" err="1">
                <a:solidFill>
                  <a:srgbClr val="212121"/>
                </a:solidFill>
                <a:effectLst/>
                <a:highlight>
                  <a:srgbClr val="FFFFFF"/>
                </a:highlight>
                <a:ea typeface="Roboto" panose="02000000000000000000" pitchFamily="2" charset="0"/>
              </a:rPr>
              <a:t>efektif</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isalnya</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manfaatkan</a:t>
            </a:r>
            <a:r>
              <a:rPr lang="en-ID" b="0" i="0" dirty="0">
                <a:solidFill>
                  <a:srgbClr val="212121"/>
                </a:solidFill>
                <a:effectLst/>
                <a:highlight>
                  <a:srgbClr val="FFFFFF"/>
                </a:highlight>
                <a:ea typeface="Roboto" panose="02000000000000000000" pitchFamily="2" charset="0"/>
              </a:rPr>
              <a:t> email </a:t>
            </a:r>
            <a:r>
              <a:rPr lang="en-ID" b="0" i="0" dirty="0" err="1">
                <a:solidFill>
                  <a:srgbClr val="212121"/>
                </a:solidFill>
                <a:effectLst/>
                <a:highlight>
                  <a:srgbClr val="FFFFFF"/>
                </a:highlight>
                <a:ea typeface="Roboto" panose="02000000000000000000" pitchFamily="2" charset="0"/>
              </a:rPr>
              <a:t>transaksional</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nt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rekomendasi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rod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lengkap</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atau</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awar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aket</a:t>
            </a:r>
            <a:r>
              <a:rPr lang="en-ID" b="0" i="0" dirty="0">
                <a:solidFill>
                  <a:srgbClr val="212121"/>
                </a:solidFill>
                <a:effectLst/>
                <a:highlight>
                  <a:srgbClr val="FFFFFF"/>
                </a:highlight>
                <a:ea typeface="Roboto" panose="02000000000000000000" pitchFamily="2" charset="0"/>
              </a:rPr>
              <a:t> bundling dan </a:t>
            </a:r>
            <a:r>
              <a:rPr lang="en-ID" b="0" i="0" dirty="0" err="1">
                <a:solidFill>
                  <a:srgbClr val="212121"/>
                </a:solidFill>
                <a:effectLst/>
                <a:highlight>
                  <a:srgbClr val="FFFFFF"/>
                </a:highlight>
                <a:ea typeface="Roboto" panose="02000000000000000000" pitchFamily="2" charset="0"/>
              </a:rPr>
              <a:t>promos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dap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dorong</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ngeluaran</a:t>
            </a:r>
            <a:r>
              <a:rPr lang="en-ID" b="0" i="0" dirty="0">
                <a:solidFill>
                  <a:srgbClr val="212121"/>
                </a:solidFill>
                <a:effectLst/>
                <a:highlight>
                  <a:srgbClr val="FFFFFF"/>
                </a:highlight>
                <a:ea typeface="Roboto" panose="02000000000000000000" pitchFamily="2" charset="0"/>
              </a:rPr>
              <a:t> yang </a:t>
            </a:r>
            <a:r>
              <a:rPr lang="en-ID" b="0" i="0" dirty="0" err="1">
                <a:solidFill>
                  <a:srgbClr val="212121"/>
                </a:solidFill>
                <a:effectLst/>
                <a:highlight>
                  <a:srgbClr val="FFFFFF"/>
                </a:highlight>
                <a:ea typeface="Roboto" panose="02000000000000000000" pitchFamily="2" charset="0"/>
              </a:rPr>
              <a:t>lebih</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tinggi</a:t>
            </a:r>
            <a:r>
              <a:rPr lang="en-ID" b="0" i="0" dirty="0">
                <a:solidFill>
                  <a:srgbClr val="212121"/>
                </a:solidFill>
                <a:effectLst/>
                <a:highlight>
                  <a:srgbClr val="FFFFFF"/>
                </a:highlight>
                <a:ea typeface="Roboto" panose="02000000000000000000" pitchFamily="2" charset="0"/>
              </a:rPr>
              <a:t> per </a:t>
            </a:r>
            <a:r>
              <a:rPr lang="en-ID" b="0" i="0" dirty="0" err="1">
                <a:solidFill>
                  <a:srgbClr val="212121"/>
                </a:solidFill>
                <a:effectLst/>
                <a:highlight>
                  <a:srgbClr val="FFFFFF"/>
                </a:highlight>
                <a:ea typeface="Roboto" panose="02000000000000000000" pitchFamily="2" charset="0"/>
              </a:rPr>
              <a:t>transaks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Rekomendasi</a:t>
            </a:r>
            <a:r>
              <a:rPr lang="en-ID" b="0" i="0" dirty="0">
                <a:solidFill>
                  <a:srgbClr val="212121"/>
                </a:solidFill>
                <a:effectLst/>
                <a:highlight>
                  <a:srgbClr val="FFFFFF"/>
                </a:highlight>
                <a:ea typeface="Roboto" panose="02000000000000000000" pitchFamily="2" charset="0"/>
              </a:rPr>
              <a:t> yang </a:t>
            </a:r>
            <a:r>
              <a:rPr lang="en-ID" b="0" i="0" dirty="0" err="1">
                <a:solidFill>
                  <a:srgbClr val="212121"/>
                </a:solidFill>
                <a:effectLst/>
                <a:highlight>
                  <a:srgbClr val="FFFFFF"/>
                </a:highlight>
                <a:ea typeface="Roboto" panose="02000000000000000000" pitchFamily="2" charset="0"/>
              </a:rPr>
              <a:t>digerakkan</a:t>
            </a:r>
            <a:r>
              <a:rPr lang="en-ID" b="0" i="0" dirty="0">
                <a:solidFill>
                  <a:srgbClr val="212121"/>
                </a:solidFill>
                <a:effectLst/>
                <a:highlight>
                  <a:srgbClr val="FFFFFF"/>
                </a:highlight>
                <a:ea typeface="Roboto" panose="02000000000000000000" pitchFamily="2" charset="0"/>
              </a:rPr>
              <a:t> oleh AI </a:t>
            </a:r>
            <a:r>
              <a:rPr lang="en-ID" b="0" i="0" dirty="0" err="1">
                <a:solidFill>
                  <a:srgbClr val="212121"/>
                </a:solidFill>
                <a:effectLst/>
                <a:highlight>
                  <a:srgbClr val="FFFFFF"/>
                </a:highlight>
                <a:ea typeface="Roboto" panose="02000000000000000000" pitchFamily="2" charset="0"/>
              </a:rPr>
              <a:t>berdasar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in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eksternal</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langgan</a:t>
            </a:r>
            <a:r>
              <a:rPr lang="en-ID" b="0" i="0" dirty="0">
                <a:solidFill>
                  <a:srgbClr val="212121"/>
                </a:solidFill>
                <a:effectLst/>
                <a:highlight>
                  <a:srgbClr val="FFFFFF"/>
                </a:highlight>
                <a:ea typeface="Roboto" panose="02000000000000000000" pitchFamily="2" charset="0"/>
              </a:rPr>
              <a:t> juga </a:t>
            </a:r>
            <a:r>
              <a:rPr lang="en-ID" b="0" i="0" dirty="0" err="1">
                <a:solidFill>
                  <a:srgbClr val="212121"/>
                </a:solidFill>
                <a:effectLst/>
                <a:highlight>
                  <a:srgbClr val="FFFFFF"/>
                </a:highlight>
                <a:ea typeface="Roboto" panose="02000000000000000000" pitchFamily="2" charset="0"/>
              </a:rPr>
              <a:t>dap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mperluas</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ngeluar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reka</a:t>
            </a:r>
            <a:r>
              <a:rPr lang="en-ID" b="0" i="0" dirty="0">
                <a:solidFill>
                  <a:srgbClr val="212121"/>
                </a:solidFill>
                <a:effectLst/>
                <a:highlight>
                  <a:srgbClr val="FFFFFF"/>
                </a:highlight>
                <a:ea typeface="Roboto" panose="02000000000000000000" pitchFamily="2" charset="0"/>
              </a:rPr>
              <a:t> di </a:t>
            </a:r>
            <a:r>
              <a:rPr lang="en-ID" b="0" i="0" dirty="0" err="1">
                <a:solidFill>
                  <a:srgbClr val="212121"/>
                </a:solidFill>
                <a:effectLst/>
                <a:highlight>
                  <a:srgbClr val="FFFFFF"/>
                </a:highlight>
                <a:ea typeface="Roboto" panose="02000000000000000000" pitchFamily="2" charset="0"/>
              </a:rPr>
              <a:t>berbaga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kategor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roduk</a:t>
            </a:r>
            <a:r>
              <a:rPr lang="en-ID" b="0" i="0" dirty="0">
                <a:solidFill>
                  <a:srgbClr val="212121"/>
                </a:solidFill>
                <a:effectLst/>
                <a:highlight>
                  <a:srgbClr val="FFFFFF"/>
                </a:highlight>
                <a:ea typeface="Roboto" panose="02000000000000000000" pitchFamily="2" charset="0"/>
              </a:rPr>
              <a:t>.</a:t>
            </a:r>
          </a:p>
          <a:p>
            <a:pPr algn="l">
              <a:buFont typeface="Arial" panose="020B0604020202020204" pitchFamily="34" charset="0"/>
              <a:buChar char="•"/>
            </a:pPr>
            <a:endParaRPr lang="en-ID" b="0" dirty="0">
              <a:solidFill>
                <a:srgbClr val="212121"/>
              </a:solidFill>
              <a:highlight>
                <a:srgbClr val="FFFFFF"/>
              </a:highlight>
              <a:ea typeface="Roboto" panose="02000000000000000000" pitchFamily="2" charset="0"/>
            </a:endParaRPr>
          </a:p>
          <a:p>
            <a:pPr algn="l"/>
            <a:r>
              <a:rPr lang="en-ID" b="0" i="0" dirty="0">
                <a:solidFill>
                  <a:srgbClr val="212121"/>
                </a:solidFill>
                <a:effectLst/>
                <a:highlight>
                  <a:srgbClr val="FFFFFF"/>
                </a:highlight>
                <a:ea typeface="Roboto" panose="02000000000000000000" pitchFamily="2" charset="0"/>
              </a:rPr>
              <a:t>Cross-Sell </a:t>
            </a:r>
            <a:r>
              <a:rPr lang="en-ID" b="0" i="0" dirty="0" err="1">
                <a:solidFill>
                  <a:srgbClr val="212121"/>
                </a:solidFill>
                <a:effectLst/>
                <a:highlight>
                  <a:srgbClr val="FFFFFF"/>
                </a:highlight>
                <a:ea typeface="Roboto" panose="02000000000000000000" pitchFamily="2" charset="0"/>
              </a:rPr>
              <a:t>adalah</a:t>
            </a:r>
            <a:r>
              <a:rPr lang="en-ID" b="0" i="0" dirty="0">
                <a:solidFill>
                  <a:srgbClr val="212121"/>
                </a:solidFill>
                <a:effectLst/>
                <a:highlight>
                  <a:srgbClr val="FFFFFF"/>
                </a:highlight>
                <a:ea typeface="Roboto" panose="02000000000000000000" pitchFamily="2" charset="0"/>
              </a:rPr>
              <a:t> s</a:t>
            </a:r>
            <a:r>
              <a:rPr lang="en-ID" b="0" dirty="0"/>
              <a:t>trategi yang </a:t>
            </a:r>
            <a:r>
              <a:rPr lang="en-ID" b="0" dirty="0" err="1"/>
              <a:t>melibatkan</a:t>
            </a:r>
            <a:r>
              <a:rPr lang="en-ID" b="0" dirty="0"/>
              <a:t> </a:t>
            </a:r>
            <a:r>
              <a:rPr lang="en-ID" b="0" dirty="0" err="1"/>
              <a:t>penawaran</a:t>
            </a:r>
            <a:r>
              <a:rPr lang="en-ID" b="0" dirty="0"/>
              <a:t> </a:t>
            </a:r>
            <a:r>
              <a:rPr lang="en-ID" b="0" dirty="0" err="1"/>
              <a:t>produk</a:t>
            </a:r>
            <a:r>
              <a:rPr lang="en-ID" b="0" dirty="0"/>
              <a:t> </a:t>
            </a:r>
            <a:r>
              <a:rPr lang="en-ID" b="0" dirty="0" err="1"/>
              <a:t>atau</a:t>
            </a:r>
            <a:r>
              <a:rPr lang="en-ID" b="0" dirty="0"/>
              <a:t> </a:t>
            </a:r>
            <a:r>
              <a:rPr lang="en-ID" b="0" dirty="0" err="1"/>
              <a:t>layanan</a:t>
            </a:r>
            <a:r>
              <a:rPr lang="en-ID" b="0" dirty="0"/>
              <a:t> yang </a:t>
            </a:r>
            <a:r>
              <a:rPr lang="en-ID" b="0" dirty="0" err="1"/>
              <a:t>terkait</a:t>
            </a:r>
            <a:r>
              <a:rPr lang="en-ID" b="0" dirty="0"/>
              <a:t> </a:t>
            </a:r>
            <a:r>
              <a:rPr lang="en-ID" b="0" dirty="0" err="1"/>
              <a:t>atau</a:t>
            </a:r>
            <a:r>
              <a:rPr lang="en-ID" b="0" dirty="0"/>
              <a:t> </a:t>
            </a:r>
            <a:r>
              <a:rPr lang="en-ID" b="0" dirty="0" err="1"/>
              <a:t>melengkapi</a:t>
            </a:r>
            <a:r>
              <a:rPr lang="en-ID" b="0" dirty="0"/>
              <a:t> </a:t>
            </a:r>
            <a:r>
              <a:rPr lang="en-ID" b="0" dirty="0" err="1"/>
              <a:t>produk</a:t>
            </a:r>
            <a:r>
              <a:rPr lang="en-ID" b="0" dirty="0"/>
              <a:t> yang </a:t>
            </a:r>
            <a:r>
              <a:rPr lang="en-ID" b="0" dirty="0" err="1"/>
              <a:t>sedang</a:t>
            </a:r>
            <a:r>
              <a:rPr lang="en-ID" b="0" dirty="0"/>
              <a:t> </a:t>
            </a:r>
            <a:r>
              <a:rPr lang="en-ID" b="0" dirty="0" err="1"/>
              <a:t>dibeli</a:t>
            </a:r>
            <a:r>
              <a:rPr lang="en-ID" b="0" dirty="0"/>
              <a:t> oleh </a:t>
            </a:r>
            <a:r>
              <a:rPr lang="en-ID" b="0" dirty="0" err="1"/>
              <a:t>pelanggan</a:t>
            </a:r>
            <a:r>
              <a:rPr lang="en-ID" b="0" dirty="0"/>
              <a:t>. </a:t>
            </a:r>
            <a:r>
              <a:rPr lang="en-ID" b="0" dirty="0" err="1"/>
              <a:t>Tujuannya</a:t>
            </a:r>
            <a:r>
              <a:rPr lang="en-ID" b="0" dirty="0"/>
              <a:t> </a:t>
            </a:r>
            <a:r>
              <a:rPr lang="en-ID" b="0" dirty="0" err="1"/>
              <a:t>adalah</a:t>
            </a:r>
            <a:r>
              <a:rPr lang="en-ID" b="0" dirty="0"/>
              <a:t> </a:t>
            </a:r>
            <a:r>
              <a:rPr lang="en-ID" b="0" dirty="0" err="1"/>
              <a:t>untuk</a:t>
            </a:r>
            <a:r>
              <a:rPr lang="en-ID" b="0" dirty="0"/>
              <a:t> </a:t>
            </a:r>
            <a:r>
              <a:rPr lang="en-ID" b="0" dirty="0" err="1"/>
              <a:t>meningkatkan</a:t>
            </a:r>
            <a:r>
              <a:rPr lang="en-ID" b="0" dirty="0"/>
              <a:t> </a:t>
            </a:r>
            <a:r>
              <a:rPr lang="en-ID" b="0" dirty="0" err="1"/>
              <a:t>jumlah</a:t>
            </a:r>
            <a:r>
              <a:rPr lang="en-ID" b="0" dirty="0"/>
              <a:t> item </a:t>
            </a:r>
            <a:r>
              <a:rPr lang="en-ID" b="0" dirty="0" err="1"/>
              <a:t>dalam</a:t>
            </a:r>
            <a:r>
              <a:rPr lang="en-ID" b="0" dirty="0"/>
              <a:t> </a:t>
            </a:r>
            <a:r>
              <a:rPr lang="en-ID" b="0" dirty="0" err="1"/>
              <a:t>keranjang</a:t>
            </a:r>
            <a:r>
              <a:rPr lang="en-ID" b="0" dirty="0"/>
              <a:t> </a:t>
            </a:r>
            <a:r>
              <a:rPr lang="en-ID" b="0" dirty="0" err="1"/>
              <a:t>belanja</a:t>
            </a:r>
            <a:r>
              <a:rPr lang="en-ID" b="0" dirty="0"/>
              <a:t> dan, pada </a:t>
            </a:r>
            <a:r>
              <a:rPr lang="en-ID" b="0" dirty="0" err="1"/>
              <a:t>akhirnya</a:t>
            </a:r>
            <a:r>
              <a:rPr lang="en-ID" b="0" dirty="0"/>
              <a:t>, </a:t>
            </a:r>
            <a:r>
              <a:rPr lang="en-ID" b="0" dirty="0" err="1"/>
              <a:t>nilai</a:t>
            </a:r>
            <a:r>
              <a:rPr lang="en-ID" b="0" dirty="0"/>
              <a:t> total </a:t>
            </a:r>
            <a:r>
              <a:rPr lang="en-ID" b="0" dirty="0" err="1"/>
              <a:t>transaksi</a:t>
            </a:r>
            <a:r>
              <a:rPr lang="en-ID" b="0" dirty="0"/>
              <a:t>.</a:t>
            </a:r>
          </a:p>
          <a:p>
            <a:pPr algn="l"/>
            <a:endParaRPr lang="en-ID" b="0" i="0" dirty="0">
              <a:solidFill>
                <a:srgbClr val="212121"/>
              </a:solidFill>
              <a:effectLst/>
              <a:highlight>
                <a:srgbClr val="FFFFFF"/>
              </a:highlight>
              <a:ea typeface="Roboto" panose="02000000000000000000" pitchFamily="2" charset="0"/>
            </a:endParaRPr>
          </a:p>
          <a:p>
            <a:pPr algn="l"/>
            <a:r>
              <a:rPr lang="en-ID" b="0" dirty="0"/>
              <a:t>Up-sell </a:t>
            </a:r>
            <a:r>
              <a:rPr lang="en-ID" b="0" dirty="0" err="1"/>
              <a:t>adalah</a:t>
            </a:r>
            <a:r>
              <a:rPr lang="en-ID" b="0" dirty="0"/>
              <a:t> strategi </a:t>
            </a:r>
            <a:r>
              <a:rPr lang="en-ID" b="0" dirty="0" err="1"/>
              <a:t>untuk</a:t>
            </a:r>
            <a:r>
              <a:rPr lang="en-ID" b="0" dirty="0"/>
              <a:t> </a:t>
            </a:r>
            <a:r>
              <a:rPr lang="en-ID" b="0" dirty="0" err="1"/>
              <a:t>mendorong</a:t>
            </a:r>
            <a:r>
              <a:rPr lang="en-ID" b="0" dirty="0"/>
              <a:t> </a:t>
            </a:r>
            <a:r>
              <a:rPr lang="en-ID" b="0" dirty="0" err="1"/>
              <a:t>pelanggan</a:t>
            </a:r>
            <a:r>
              <a:rPr lang="en-ID" b="0" dirty="0"/>
              <a:t> </a:t>
            </a:r>
            <a:r>
              <a:rPr lang="en-ID" b="0" dirty="0" err="1"/>
              <a:t>membeli</a:t>
            </a:r>
            <a:r>
              <a:rPr lang="en-ID" b="0" dirty="0"/>
              <a:t> </a:t>
            </a:r>
            <a:r>
              <a:rPr lang="en-ID" b="0" dirty="0" err="1"/>
              <a:t>versi</a:t>
            </a:r>
            <a:r>
              <a:rPr lang="en-ID" b="0" dirty="0"/>
              <a:t> </a:t>
            </a:r>
            <a:r>
              <a:rPr lang="en-ID" b="0" dirty="0" err="1"/>
              <a:t>produk</a:t>
            </a:r>
            <a:r>
              <a:rPr lang="en-ID" b="0" dirty="0"/>
              <a:t> </a:t>
            </a:r>
            <a:r>
              <a:rPr lang="en-ID" b="0" dirty="0" err="1"/>
              <a:t>atau</a:t>
            </a:r>
            <a:r>
              <a:rPr lang="en-ID" b="0" dirty="0"/>
              <a:t> </a:t>
            </a:r>
            <a:r>
              <a:rPr lang="en-ID" b="0" dirty="0" err="1"/>
              <a:t>layanan</a:t>
            </a:r>
            <a:r>
              <a:rPr lang="en-ID" b="0" dirty="0"/>
              <a:t> yang </a:t>
            </a:r>
            <a:r>
              <a:rPr lang="en-ID" b="0" dirty="0" err="1"/>
              <a:t>lebih</a:t>
            </a:r>
            <a:r>
              <a:rPr lang="en-ID" b="0" dirty="0"/>
              <a:t> mahal, </a:t>
            </a:r>
            <a:r>
              <a:rPr lang="en-ID" b="0" dirty="0" err="1"/>
              <a:t>lebih</a:t>
            </a:r>
            <a:r>
              <a:rPr lang="en-ID" b="0" dirty="0"/>
              <a:t> </a:t>
            </a:r>
            <a:r>
              <a:rPr lang="en-ID" b="0" dirty="0" err="1"/>
              <a:t>canggih</a:t>
            </a:r>
            <a:r>
              <a:rPr lang="en-ID" b="0" dirty="0"/>
              <a:t>, </a:t>
            </a:r>
            <a:r>
              <a:rPr lang="en-ID" b="0" dirty="0" err="1"/>
              <a:t>atau</a:t>
            </a:r>
            <a:r>
              <a:rPr lang="en-ID" b="0" dirty="0"/>
              <a:t> </a:t>
            </a:r>
            <a:r>
              <a:rPr lang="en-ID" b="0" dirty="0" err="1"/>
              <a:t>lebih</a:t>
            </a:r>
            <a:r>
              <a:rPr lang="en-ID" b="0" dirty="0"/>
              <a:t> </a:t>
            </a:r>
            <a:r>
              <a:rPr lang="en-ID" b="0" dirty="0" err="1"/>
              <a:t>banyak</a:t>
            </a:r>
            <a:r>
              <a:rPr lang="en-ID" b="0" dirty="0"/>
              <a:t> </a:t>
            </a:r>
            <a:r>
              <a:rPr lang="en-ID" b="0" dirty="0" err="1"/>
              <a:t>fitur</a:t>
            </a:r>
            <a:r>
              <a:rPr lang="en-ID" b="0" dirty="0"/>
              <a:t> </a:t>
            </a:r>
            <a:r>
              <a:rPr lang="en-ID" b="0" dirty="0" err="1"/>
              <a:t>dari</a:t>
            </a:r>
            <a:r>
              <a:rPr lang="en-ID" b="0" dirty="0"/>
              <a:t> </a:t>
            </a:r>
            <a:r>
              <a:rPr lang="en-ID" b="0" dirty="0" err="1"/>
              <a:t>apa</a:t>
            </a:r>
            <a:r>
              <a:rPr lang="en-ID" b="0" dirty="0"/>
              <a:t> yang </a:t>
            </a:r>
            <a:r>
              <a:rPr lang="en-ID" b="0" dirty="0" err="1"/>
              <a:t>awalnya</a:t>
            </a:r>
            <a:r>
              <a:rPr lang="en-ID" b="0" dirty="0"/>
              <a:t> </a:t>
            </a:r>
            <a:r>
              <a:rPr lang="en-ID" b="0" dirty="0" err="1"/>
              <a:t>mereka</a:t>
            </a:r>
            <a:r>
              <a:rPr lang="en-ID" b="0" dirty="0"/>
              <a:t> </a:t>
            </a:r>
            <a:r>
              <a:rPr lang="en-ID" b="0" dirty="0" err="1"/>
              <a:t>pertimbangkan</a:t>
            </a:r>
            <a:r>
              <a:rPr lang="en-ID" b="0" dirty="0"/>
              <a:t>. </a:t>
            </a:r>
            <a:r>
              <a:rPr lang="en-ID" b="0" dirty="0" err="1"/>
              <a:t>Tujuannya</a:t>
            </a:r>
            <a:r>
              <a:rPr lang="en-ID" b="0" dirty="0"/>
              <a:t> </a:t>
            </a:r>
            <a:r>
              <a:rPr lang="en-ID" b="0" dirty="0" err="1"/>
              <a:t>adalah</a:t>
            </a:r>
            <a:r>
              <a:rPr lang="en-ID" b="0" dirty="0"/>
              <a:t> </a:t>
            </a:r>
            <a:r>
              <a:rPr lang="en-ID" b="0" dirty="0" err="1"/>
              <a:t>meningkatkan</a:t>
            </a:r>
            <a:r>
              <a:rPr lang="en-ID" b="0" dirty="0"/>
              <a:t> </a:t>
            </a:r>
            <a:r>
              <a:rPr lang="en-ID" b="0" dirty="0" err="1"/>
              <a:t>nilai</a:t>
            </a:r>
            <a:r>
              <a:rPr lang="en-ID" b="0" dirty="0"/>
              <a:t> </a:t>
            </a:r>
            <a:r>
              <a:rPr lang="en-ID" b="0" dirty="0" err="1"/>
              <a:t>transaksi</a:t>
            </a:r>
            <a:r>
              <a:rPr lang="en-ID" b="0" dirty="0"/>
              <a:t> </a:t>
            </a:r>
            <a:r>
              <a:rPr lang="en-ID" b="0" dirty="0" err="1"/>
              <a:t>dengan</a:t>
            </a:r>
            <a:r>
              <a:rPr lang="en-ID" b="0" dirty="0"/>
              <a:t> </a:t>
            </a:r>
            <a:r>
              <a:rPr lang="en-ID" b="0" dirty="0" err="1"/>
              <a:t>menjual</a:t>
            </a:r>
            <a:r>
              <a:rPr lang="en-ID" b="0" dirty="0"/>
              <a:t> </a:t>
            </a:r>
            <a:r>
              <a:rPr lang="en-ID" b="0" dirty="0" err="1"/>
              <a:t>produk</a:t>
            </a:r>
            <a:r>
              <a:rPr lang="en-ID" b="0" dirty="0"/>
              <a:t> yang </a:t>
            </a:r>
            <a:r>
              <a:rPr lang="en-ID" b="0" dirty="0" err="1"/>
              <a:t>lebih</a:t>
            </a:r>
            <a:r>
              <a:rPr lang="en-ID" b="0" dirty="0"/>
              <a:t> premium.</a:t>
            </a:r>
          </a:p>
        </p:txBody>
      </p:sp>
    </p:spTree>
    <p:extLst>
      <p:ext uri="{BB962C8B-B14F-4D97-AF65-F5344CB8AC3E}">
        <p14:creationId xmlns:p14="http://schemas.microsoft.com/office/powerpoint/2010/main" val="41428576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849BE-1BA1-B32C-625D-102F0A5F2001}"/>
              </a:ext>
            </a:extLst>
          </p:cNvPr>
          <p:cNvSpPr>
            <a:spLocks noGrp="1"/>
          </p:cNvSpPr>
          <p:nvPr>
            <p:ph type="title"/>
          </p:nvPr>
        </p:nvSpPr>
        <p:spPr/>
        <p:txBody>
          <a:bodyPr/>
          <a:lstStyle/>
          <a:p>
            <a:r>
              <a:rPr lang="en-ID" i="0" dirty="0" err="1">
                <a:effectLst/>
                <a:highlight>
                  <a:srgbClr val="FFFFFF"/>
                </a:highlight>
              </a:rPr>
              <a:t>Kembangkan</a:t>
            </a:r>
            <a:r>
              <a:rPr lang="en-ID" i="0" dirty="0">
                <a:effectLst/>
                <a:highlight>
                  <a:srgbClr val="FFFFFF"/>
                </a:highlight>
              </a:rPr>
              <a:t> </a:t>
            </a:r>
            <a:r>
              <a:rPr lang="en-ID" i="0" dirty="0" err="1">
                <a:effectLst/>
                <a:highlight>
                  <a:srgbClr val="FFFFFF"/>
                </a:highlight>
              </a:rPr>
              <a:t>pendekatan</a:t>
            </a:r>
            <a:r>
              <a:rPr lang="en-ID" i="0" dirty="0">
                <a:effectLst/>
                <a:highlight>
                  <a:srgbClr val="FFFFFF"/>
                </a:highlight>
              </a:rPr>
              <a:t> </a:t>
            </a:r>
            <a:r>
              <a:rPr lang="en-ID" i="0" dirty="0" err="1">
                <a:effectLst/>
                <a:highlight>
                  <a:srgbClr val="FFFFFF"/>
                </a:highlight>
              </a:rPr>
              <a:t>proaktif</a:t>
            </a:r>
            <a:r>
              <a:rPr lang="en-ID" i="0" dirty="0">
                <a:effectLst/>
                <a:highlight>
                  <a:srgbClr val="FFFFFF"/>
                </a:highlight>
              </a:rPr>
              <a:t> </a:t>
            </a:r>
            <a:r>
              <a:rPr lang="en-ID" i="0" dirty="0" err="1">
                <a:effectLst/>
                <a:highlight>
                  <a:srgbClr val="FFFFFF"/>
                </a:highlight>
              </a:rPr>
              <a:t>terhadap</a:t>
            </a:r>
            <a:r>
              <a:rPr lang="en-ID" i="0" dirty="0">
                <a:effectLst/>
                <a:highlight>
                  <a:srgbClr val="FFFFFF"/>
                </a:highlight>
              </a:rPr>
              <a:t> </a:t>
            </a:r>
            <a:r>
              <a:rPr lang="en-ID" i="0" dirty="0" err="1">
                <a:effectLst/>
                <a:highlight>
                  <a:srgbClr val="FFFFFF"/>
                </a:highlight>
              </a:rPr>
              <a:t>manajemen</a:t>
            </a:r>
            <a:r>
              <a:rPr lang="en-ID" i="0" dirty="0">
                <a:effectLst/>
                <a:highlight>
                  <a:srgbClr val="FFFFFF"/>
                </a:highlight>
              </a:rPr>
              <a:t> </a:t>
            </a:r>
            <a:r>
              <a:rPr lang="en-ID" i="0" dirty="0" err="1">
                <a:effectLst/>
                <a:highlight>
                  <a:srgbClr val="FFFFFF"/>
                </a:highlight>
              </a:rPr>
              <a:t>keluhan</a:t>
            </a:r>
            <a:r>
              <a:rPr lang="en-ID" i="0" dirty="0">
                <a:effectLst/>
                <a:highlight>
                  <a:srgbClr val="FFFFFF"/>
                </a:highlight>
              </a:rPr>
              <a:t> </a:t>
            </a:r>
            <a:r>
              <a:rPr lang="en-ID" i="0" dirty="0" err="1">
                <a:effectLst/>
                <a:highlight>
                  <a:srgbClr val="FFFFFF"/>
                </a:highlight>
              </a:rPr>
              <a:t>untuk</a:t>
            </a:r>
            <a:r>
              <a:rPr lang="en-ID" i="0" dirty="0">
                <a:effectLst/>
                <a:highlight>
                  <a:srgbClr val="FFFFFF"/>
                </a:highlight>
              </a:rPr>
              <a:t> </a:t>
            </a:r>
            <a:r>
              <a:rPr lang="en-ID" i="0" dirty="0" err="1">
                <a:effectLst/>
                <a:highlight>
                  <a:srgbClr val="FFFFFF"/>
                </a:highlight>
              </a:rPr>
              <a:t>meminimalisir</a:t>
            </a:r>
            <a:r>
              <a:rPr lang="en-ID" i="0" dirty="0">
                <a:effectLst/>
                <a:highlight>
                  <a:srgbClr val="FFFFFF"/>
                </a:highlight>
              </a:rPr>
              <a:t> </a:t>
            </a:r>
            <a:r>
              <a:rPr lang="en-ID" i="0" dirty="0" err="1">
                <a:effectLst/>
                <a:highlight>
                  <a:srgbClr val="FFFFFF"/>
                </a:highlight>
              </a:rPr>
              <a:t>Compain</a:t>
            </a:r>
            <a:r>
              <a:rPr lang="en-ID" i="0" dirty="0">
                <a:effectLst/>
                <a:highlight>
                  <a:srgbClr val="FFFFFF"/>
                </a:highlight>
              </a:rPr>
              <a:t> </a:t>
            </a:r>
            <a:r>
              <a:rPr lang="en-ID" i="0" dirty="0" err="1">
                <a:effectLst/>
                <a:highlight>
                  <a:srgbClr val="FFFFFF"/>
                </a:highlight>
              </a:rPr>
              <a:t>pelanggan</a:t>
            </a:r>
            <a:r>
              <a:rPr lang="en-ID" i="0" dirty="0">
                <a:effectLst/>
                <a:highlight>
                  <a:srgbClr val="FFFFFF"/>
                </a:highlight>
              </a:rPr>
              <a:t>.</a:t>
            </a:r>
            <a:endParaRPr lang="en-ID" dirty="0"/>
          </a:p>
        </p:txBody>
      </p:sp>
      <p:sp>
        <p:nvSpPr>
          <p:cNvPr id="3" name="Text Placeholder 2">
            <a:extLst>
              <a:ext uri="{FF2B5EF4-FFF2-40B4-BE49-F238E27FC236}">
                <a16:creationId xmlns:a16="http://schemas.microsoft.com/office/drawing/2014/main" id="{6F1BDE21-1FCF-C62C-E94B-C7510CDC05CB}"/>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latin typeface="+mj-lt"/>
              </a:rPr>
              <a:t>Target: </a:t>
            </a:r>
            <a:r>
              <a:rPr lang="en-ID" b="0" i="0" dirty="0" err="1">
                <a:solidFill>
                  <a:srgbClr val="212121"/>
                </a:solidFill>
                <a:effectLst/>
                <a:highlight>
                  <a:srgbClr val="FFFFFF"/>
                </a:highlight>
                <a:latin typeface="+mj-lt"/>
              </a:rPr>
              <a:t>Kurang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urun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mbeli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kai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sebesar</a:t>
            </a:r>
            <a:r>
              <a:rPr lang="en-ID" b="0" i="0" dirty="0">
                <a:solidFill>
                  <a:srgbClr val="212121"/>
                </a:solidFill>
                <a:effectLst/>
                <a:highlight>
                  <a:srgbClr val="FFFFFF"/>
                </a:highlight>
                <a:latin typeface="+mj-lt"/>
              </a:rPr>
              <a:t> 20%.</a:t>
            </a:r>
          </a:p>
          <a:p>
            <a:pPr algn="l"/>
            <a:endParaRPr lang="en-ID" b="0" i="0" dirty="0">
              <a:solidFill>
                <a:srgbClr val="212121"/>
              </a:solidFill>
              <a:effectLst/>
              <a:highlight>
                <a:srgbClr val="FFFFFF"/>
              </a:highlight>
              <a:latin typeface="+mj-lt"/>
            </a:endParaRPr>
          </a:p>
          <a:p>
            <a:pPr algn="l">
              <a:buFont typeface="Arial" panose="020B0604020202020204" pitchFamily="34" charset="0"/>
              <a:buChar char="•"/>
            </a:pPr>
            <a:r>
              <a:rPr lang="en-ID" b="0" i="0" dirty="0">
                <a:solidFill>
                  <a:srgbClr val="212121"/>
                </a:solidFill>
                <a:effectLst/>
                <a:highlight>
                  <a:srgbClr val="FFFFFF"/>
                </a:highlight>
                <a:latin typeface="+mj-lt"/>
              </a:rPr>
              <a:t>Strategi: </a:t>
            </a:r>
            <a:r>
              <a:rPr lang="en-ID" b="0" i="0" dirty="0" err="1">
                <a:solidFill>
                  <a:srgbClr val="212121"/>
                </a:solidFill>
                <a:effectLst/>
                <a:highlight>
                  <a:srgbClr val="FFFFFF"/>
                </a:highlight>
                <a:latin typeface="+mj-lt"/>
              </a:rPr>
              <a:t>Kembang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dekat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roaktif</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hada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anajeme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n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ncaku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respo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cepa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hada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menggunakan</a:t>
            </a:r>
            <a:r>
              <a:rPr lang="en-ID" b="0" i="0" dirty="0">
                <a:solidFill>
                  <a:srgbClr val="212121"/>
                </a:solidFill>
                <a:effectLst/>
                <a:highlight>
                  <a:srgbClr val="FFFFFF"/>
                </a:highlight>
                <a:latin typeface="+mj-lt"/>
              </a:rPr>
              <a:t> data </a:t>
            </a:r>
            <a:r>
              <a:rPr lang="en-ID" b="0" i="0" dirty="0" err="1">
                <a:solidFill>
                  <a:srgbClr val="212121"/>
                </a:solidFill>
                <a:effectLst/>
                <a:highlight>
                  <a:srgbClr val="FFFFFF"/>
                </a:highlight>
                <a:latin typeface="+mj-lt"/>
              </a:rPr>
              <a:t>dar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untuk</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ningkat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roduk</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layan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langg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pua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utam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reka</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masalahny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selesai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efisie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lebih</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ungki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untuk</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u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erbelanja</a:t>
            </a:r>
            <a:r>
              <a:rPr lang="en-ID" b="0" i="0" dirty="0">
                <a:solidFill>
                  <a:srgbClr val="212121"/>
                </a:solidFill>
                <a:effectLst/>
                <a:highlight>
                  <a:srgbClr val="FFFFFF"/>
                </a:highlight>
                <a:latin typeface="+mj-lt"/>
              </a:rPr>
              <a:t> di Supermarket.</a:t>
            </a:r>
          </a:p>
          <a:p>
            <a:pPr algn="l"/>
            <a:endParaRPr lang="en-ID" b="0" dirty="0">
              <a:solidFill>
                <a:srgbClr val="212121"/>
              </a:solidFill>
              <a:highlight>
                <a:srgbClr val="FFFFFF"/>
              </a:highlight>
              <a:latin typeface="+mj-lt"/>
            </a:endParaRPr>
          </a:p>
          <a:p>
            <a:pPr algn="l"/>
            <a:r>
              <a:rPr lang="en-ID" b="0" dirty="0" err="1">
                <a:latin typeface="+mj-lt"/>
              </a:rPr>
              <a:t>Mengembangkan</a:t>
            </a:r>
            <a:r>
              <a:rPr lang="en-ID" b="0" dirty="0">
                <a:latin typeface="+mj-lt"/>
              </a:rPr>
              <a:t> </a:t>
            </a:r>
            <a:r>
              <a:rPr lang="en-ID" b="0" dirty="0" err="1">
                <a:latin typeface="+mj-lt"/>
              </a:rPr>
              <a:t>pendekatan</a:t>
            </a:r>
            <a:r>
              <a:rPr lang="en-ID" b="0" dirty="0">
                <a:latin typeface="+mj-lt"/>
              </a:rPr>
              <a:t> </a:t>
            </a:r>
            <a:r>
              <a:rPr lang="en-ID" b="0" dirty="0" err="1">
                <a:latin typeface="+mj-lt"/>
              </a:rPr>
              <a:t>proaktif</a:t>
            </a:r>
            <a:r>
              <a:rPr lang="en-ID" b="0" dirty="0">
                <a:latin typeface="+mj-lt"/>
              </a:rPr>
              <a:t> </a:t>
            </a:r>
            <a:r>
              <a:rPr lang="en-ID" b="0" dirty="0" err="1">
                <a:latin typeface="+mj-lt"/>
              </a:rPr>
              <a:t>terhadap</a:t>
            </a:r>
            <a:r>
              <a:rPr lang="en-ID" b="0" dirty="0">
                <a:latin typeface="+mj-lt"/>
              </a:rPr>
              <a:t> </a:t>
            </a:r>
            <a:r>
              <a:rPr lang="en-ID" b="0" dirty="0" err="1">
                <a:latin typeface="+mj-lt"/>
              </a:rPr>
              <a:t>manajemen</a:t>
            </a:r>
            <a:r>
              <a:rPr lang="en-ID" b="0" dirty="0">
                <a:latin typeface="+mj-lt"/>
              </a:rPr>
              <a:t> </a:t>
            </a:r>
            <a:r>
              <a:rPr lang="en-ID" b="0" dirty="0" err="1">
                <a:latin typeface="+mj-lt"/>
              </a:rPr>
              <a:t>keluhan</a:t>
            </a:r>
            <a:r>
              <a:rPr lang="en-ID" b="0" dirty="0">
                <a:latin typeface="+mj-lt"/>
              </a:rPr>
              <a:t> </a:t>
            </a:r>
            <a:r>
              <a:rPr lang="en-ID" b="0" dirty="0" err="1">
                <a:latin typeface="+mj-lt"/>
              </a:rPr>
              <a:t>berarti</a:t>
            </a:r>
            <a:r>
              <a:rPr lang="en-ID" b="0" dirty="0">
                <a:latin typeface="+mj-lt"/>
              </a:rPr>
              <a:t> </a:t>
            </a:r>
            <a:r>
              <a:rPr lang="en-ID" b="0" dirty="0" err="1">
                <a:latin typeface="+mj-lt"/>
              </a:rPr>
              <a:t>perusahaan</a:t>
            </a:r>
            <a:r>
              <a:rPr lang="en-ID" b="0" dirty="0">
                <a:latin typeface="+mj-lt"/>
              </a:rPr>
              <a:t> </a:t>
            </a:r>
            <a:r>
              <a:rPr lang="en-ID" b="0" dirty="0" err="1">
                <a:latin typeface="+mj-lt"/>
              </a:rPr>
              <a:t>mengambil</a:t>
            </a:r>
            <a:r>
              <a:rPr lang="en-ID" b="0" dirty="0">
                <a:latin typeface="+mj-lt"/>
              </a:rPr>
              <a:t> </a:t>
            </a:r>
            <a:r>
              <a:rPr lang="en-ID" b="0" dirty="0" err="1">
                <a:latin typeface="+mj-lt"/>
              </a:rPr>
              <a:t>langkah-langkah</a:t>
            </a:r>
            <a:r>
              <a:rPr lang="en-ID" b="0" dirty="0">
                <a:latin typeface="+mj-lt"/>
              </a:rPr>
              <a:t> </a:t>
            </a:r>
            <a:r>
              <a:rPr lang="en-ID" b="0" dirty="0" err="1">
                <a:latin typeface="+mj-lt"/>
              </a:rPr>
              <a:t>aktif</a:t>
            </a:r>
            <a:r>
              <a:rPr lang="en-ID" b="0" dirty="0">
                <a:latin typeface="+mj-lt"/>
              </a:rPr>
              <a:t> </a:t>
            </a:r>
            <a:r>
              <a:rPr lang="en-ID" b="0" dirty="0" err="1">
                <a:latin typeface="+mj-lt"/>
              </a:rPr>
              <a:t>untuk</a:t>
            </a:r>
            <a:r>
              <a:rPr lang="en-ID" b="0" dirty="0">
                <a:latin typeface="+mj-lt"/>
              </a:rPr>
              <a:t> </a:t>
            </a:r>
            <a:r>
              <a:rPr lang="en-ID" b="0" dirty="0" err="1">
                <a:latin typeface="+mj-lt"/>
              </a:rPr>
              <a:t>mencegah</a:t>
            </a:r>
            <a:r>
              <a:rPr lang="en-ID" b="0" dirty="0">
                <a:latin typeface="+mj-lt"/>
              </a:rPr>
              <a:t> dan </a:t>
            </a:r>
            <a:r>
              <a:rPr lang="en-ID" b="0" dirty="0" err="1">
                <a:latin typeface="+mj-lt"/>
              </a:rPr>
              <a:t>menangani</a:t>
            </a:r>
            <a:r>
              <a:rPr lang="en-ID" b="0" dirty="0">
                <a:latin typeface="+mj-lt"/>
              </a:rPr>
              <a:t> </a:t>
            </a:r>
            <a:r>
              <a:rPr lang="en-ID" b="0" dirty="0" err="1">
                <a:latin typeface="+mj-lt"/>
              </a:rPr>
              <a:t>keluhan</a:t>
            </a:r>
            <a:r>
              <a:rPr lang="en-ID" b="0" dirty="0">
                <a:latin typeface="+mj-lt"/>
              </a:rPr>
              <a:t> </a:t>
            </a:r>
            <a:r>
              <a:rPr lang="en-ID" b="0" dirty="0" err="1">
                <a:latin typeface="+mj-lt"/>
              </a:rPr>
              <a:t>pelanggan</a:t>
            </a:r>
            <a:r>
              <a:rPr lang="en-ID" b="0" dirty="0">
                <a:latin typeface="+mj-lt"/>
              </a:rPr>
              <a:t> </a:t>
            </a:r>
            <a:r>
              <a:rPr lang="en-ID" b="0" dirty="0" err="1">
                <a:latin typeface="+mj-lt"/>
              </a:rPr>
              <a:t>sebelum</a:t>
            </a:r>
            <a:r>
              <a:rPr lang="en-ID" b="0" dirty="0">
                <a:latin typeface="+mj-lt"/>
              </a:rPr>
              <a:t> </a:t>
            </a:r>
            <a:r>
              <a:rPr lang="en-ID" b="0" dirty="0" err="1">
                <a:latin typeface="+mj-lt"/>
              </a:rPr>
              <a:t>masalah</a:t>
            </a:r>
            <a:r>
              <a:rPr lang="en-ID" b="0" dirty="0">
                <a:latin typeface="+mj-lt"/>
              </a:rPr>
              <a:t> </a:t>
            </a:r>
            <a:r>
              <a:rPr lang="en-ID" b="0" dirty="0" err="1">
                <a:latin typeface="+mj-lt"/>
              </a:rPr>
              <a:t>tersebut</a:t>
            </a:r>
            <a:r>
              <a:rPr lang="en-ID" b="0" dirty="0">
                <a:latin typeface="+mj-lt"/>
              </a:rPr>
              <a:t> </a:t>
            </a:r>
            <a:r>
              <a:rPr lang="en-ID" b="0" dirty="0" err="1">
                <a:latin typeface="+mj-lt"/>
              </a:rPr>
              <a:t>menjadi</a:t>
            </a:r>
            <a:r>
              <a:rPr lang="en-ID" b="0" dirty="0">
                <a:latin typeface="+mj-lt"/>
              </a:rPr>
              <a:t> </a:t>
            </a:r>
            <a:r>
              <a:rPr lang="en-ID" b="0" dirty="0" err="1">
                <a:latin typeface="+mj-lt"/>
              </a:rPr>
              <a:t>lebih</a:t>
            </a:r>
            <a:r>
              <a:rPr lang="en-ID" b="0" dirty="0">
                <a:latin typeface="+mj-lt"/>
              </a:rPr>
              <a:t> </a:t>
            </a:r>
            <a:r>
              <a:rPr lang="en-ID" b="0" dirty="0" err="1">
                <a:latin typeface="+mj-lt"/>
              </a:rPr>
              <a:t>besar</a:t>
            </a:r>
            <a:r>
              <a:rPr lang="en-ID" b="0" dirty="0">
                <a:latin typeface="+mj-lt"/>
              </a:rPr>
              <a:t> </a:t>
            </a:r>
            <a:r>
              <a:rPr lang="en-ID" b="0" dirty="0" err="1">
                <a:latin typeface="+mj-lt"/>
              </a:rPr>
              <a:t>atau</a:t>
            </a:r>
            <a:r>
              <a:rPr lang="en-ID" b="0" dirty="0">
                <a:latin typeface="+mj-lt"/>
              </a:rPr>
              <a:t> </a:t>
            </a:r>
            <a:r>
              <a:rPr lang="en-ID" b="0" dirty="0" err="1">
                <a:latin typeface="+mj-lt"/>
              </a:rPr>
              <a:t>memengaruhi</a:t>
            </a:r>
            <a:r>
              <a:rPr lang="en-ID" b="0" dirty="0">
                <a:latin typeface="+mj-lt"/>
              </a:rPr>
              <a:t> </a:t>
            </a:r>
            <a:r>
              <a:rPr lang="en-ID" b="0" dirty="0" err="1">
                <a:latin typeface="+mj-lt"/>
              </a:rPr>
              <a:t>pengalaman</a:t>
            </a:r>
            <a:r>
              <a:rPr lang="en-ID" b="0" dirty="0">
                <a:latin typeface="+mj-lt"/>
              </a:rPr>
              <a:t> </a:t>
            </a:r>
            <a:r>
              <a:rPr lang="en-ID" b="0" dirty="0" err="1">
                <a:latin typeface="+mj-lt"/>
              </a:rPr>
              <a:t>pelanggan</a:t>
            </a:r>
            <a:r>
              <a:rPr lang="en-ID" b="0" dirty="0">
                <a:latin typeface="+mj-lt"/>
              </a:rPr>
              <a:t> </a:t>
            </a:r>
            <a:r>
              <a:rPr lang="en-ID" b="0" dirty="0" err="1">
                <a:latin typeface="+mj-lt"/>
              </a:rPr>
              <a:t>secara</a:t>
            </a:r>
            <a:r>
              <a:rPr lang="en-ID" b="0" dirty="0">
                <a:latin typeface="+mj-lt"/>
              </a:rPr>
              <a:t> </a:t>
            </a:r>
            <a:r>
              <a:rPr lang="en-ID" b="0" dirty="0" err="1">
                <a:latin typeface="+mj-lt"/>
              </a:rPr>
              <a:t>negatif</a:t>
            </a:r>
            <a:r>
              <a:rPr lang="en-ID" b="0" dirty="0">
                <a:latin typeface="+mj-lt"/>
              </a:rPr>
              <a:t>. </a:t>
            </a:r>
            <a:r>
              <a:rPr lang="en-ID" b="0" dirty="0" err="1">
                <a:latin typeface="+mj-lt"/>
              </a:rPr>
              <a:t>Alih-alih</a:t>
            </a:r>
            <a:r>
              <a:rPr lang="en-ID" b="0" dirty="0">
                <a:latin typeface="+mj-lt"/>
              </a:rPr>
              <a:t> </a:t>
            </a:r>
            <a:r>
              <a:rPr lang="en-ID" b="0" dirty="0" err="1">
                <a:latin typeface="+mj-lt"/>
              </a:rPr>
              <a:t>hanya</a:t>
            </a:r>
            <a:r>
              <a:rPr lang="en-ID" b="0" dirty="0">
                <a:latin typeface="+mj-lt"/>
              </a:rPr>
              <a:t> </a:t>
            </a:r>
            <a:r>
              <a:rPr lang="en-ID" b="0" dirty="0" err="1">
                <a:latin typeface="+mj-lt"/>
              </a:rPr>
              <a:t>merespons</a:t>
            </a:r>
            <a:r>
              <a:rPr lang="en-ID" b="0" dirty="0">
                <a:latin typeface="+mj-lt"/>
              </a:rPr>
              <a:t> </a:t>
            </a:r>
            <a:r>
              <a:rPr lang="en-ID" b="0" dirty="0" err="1">
                <a:latin typeface="+mj-lt"/>
              </a:rPr>
              <a:t>keluhan</a:t>
            </a:r>
            <a:r>
              <a:rPr lang="en-ID" b="0" dirty="0">
                <a:latin typeface="+mj-lt"/>
              </a:rPr>
              <a:t> </a:t>
            </a:r>
            <a:r>
              <a:rPr lang="en-ID" b="0" dirty="0" err="1">
                <a:latin typeface="+mj-lt"/>
              </a:rPr>
              <a:t>setelah</a:t>
            </a:r>
            <a:r>
              <a:rPr lang="en-ID" b="0" dirty="0">
                <a:latin typeface="+mj-lt"/>
              </a:rPr>
              <a:t> </a:t>
            </a:r>
            <a:r>
              <a:rPr lang="en-ID" b="0" dirty="0" err="1">
                <a:latin typeface="+mj-lt"/>
              </a:rPr>
              <a:t>diajukan</a:t>
            </a:r>
            <a:r>
              <a:rPr lang="en-ID" b="0" dirty="0">
                <a:latin typeface="+mj-lt"/>
              </a:rPr>
              <a:t>, </a:t>
            </a:r>
            <a:r>
              <a:rPr lang="en-ID" b="0" dirty="0" err="1">
                <a:latin typeface="+mj-lt"/>
              </a:rPr>
              <a:t>pendekatan</a:t>
            </a:r>
            <a:r>
              <a:rPr lang="en-ID" b="0" dirty="0">
                <a:latin typeface="+mj-lt"/>
              </a:rPr>
              <a:t> </a:t>
            </a:r>
            <a:r>
              <a:rPr lang="en-ID" b="0" dirty="0" err="1">
                <a:latin typeface="+mj-lt"/>
              </a:rPr>
              <a:t>proaktif</a:t>
            </a:r>
            <a:r>
              <a:rPr lang="en-ID" b="0" dirty="0">
                <a:latin typeface="+mj-lt"/>
              </a:rPr>
              <a:t> </a:t>
            </a:r>
            <a:r>
              <a:rPr lang="en-ID" b="0" dirty="0" err="1">
                <a:latin typeface="+mj-lt"/>
              </a:rPr>
              <a:t>ini</a:t>
            </a:r>
            <a:r>
              <a:rPr lang="en-ID" b="0" dirty="0">
                <a:latin typeface="+mj-lt"/>
              </a:rPr>
              <a:t> </a:t>
            </a:r>
            <a:r>
              <a:rPr lang="en-ID" b="0" dirty="0" err="1">
                <a:latin typeface="+mj-lt"/>
              </a:rPr>
              <a:t>melibatkan</a:t>
            </a:r>
            <a:r>
              <a:rPr lang="en-ID" b="0" dirty="0">
                <a:latin typeface="+mj-lt"/>
              </a:rPr>
              <a:t> </a:t>
            </a:r>
            <a:r>
              <a:rPr lang="en-ID" b="0" dirty="0" err="1">
                <a:latin typeface="+mj-lt"/>
              </a:rPr>
              <a:t>identifikasi</a:t>
            </a:r>
            <a:r>
              <a:rPr lang="en-ID" b="0" dirty="0">
                <a:latin typeface="+mj-lt"/>
              </a:rPr>
              <a:t> </a:t>
            </a:r>
            <a:r>
              <a:rPr lang="en-ID" b="0" dirty="0" err="1">
                <a:latin typeface="+mj-lt"/>
              </a:rPr>
              <a:t>potensi</a:t>
            </a:r>
            <a:r>
              <a:rPr lang="en-ID" b="0" dirty="0">
                <a:latin typeface="+mj-lt"/>
              </a:rPr>
              <a:t> </a:t>
            </a:r>
            <a:r>
              <a:rPr lang="en-ID" b="0" dirty="0" err="1">
                <a:latin typeface="+mj-lt"/>
              </a:rPr>
              <a:t>masalah</a:t>
            </a:r>
            <a:r>
              <a:rPr lang="en-ID" b="0" dirty="0">
                <a:latin typeface="+mj-lt"/>
              </a:rPr>
              <a:t> </a:t>
            </a:r>
            <a:r>
              <a:rPr lang="en-ID" b="0" dirty="0" err="1">
                <a:latin typeface="+mj-lt"/>
              </a:rPr>
              <a:t>sejak</a:t>
            </a:r>
            <a:r>
              <a:rPr lang="en-ID" b="0" dirty="0">
                <a:latin typeface="+mj-lt"/>
              </a:rPr>
              <a:t> </a:t>
            </a:r>
            <a:r>
              <a:rPr lang="en-ID" b="0" dirty="0" err="1">
                <a:latin typeface="+mj-lt"/>
              </a:rPr>
              <a:t>dini</a:t>
            </a:r>
            <a:r>
              <a:rPr lang="en-ID" b="0" dirty="0">
                <a:latin typeface="+mj-lt"/>
              </a:rPr>
              <a:t>, </a:t>
            </a:r>
            <a:r>
              <a:rPr lang="en-ID" b="0" dirty="0" err="1">
                <a:latin typeface="+mj-lt"/>
              </a:rPr>
              <a:t>menawarkan</a:t>
            </a:r>
            <a:r>
              <a:rPr lang="en-ID" b="0" dirty="0">
                <a:latin typeface="+mj-lt"/>
              </a:rPr>
              <a:t> </a:t>
            </a:r>
            <a:r>
              <a:rPr lang="en-ID" b="0" dirty="0" err="1">
                <a:latin typeface="+mj-lt"/>
              </a:rPr>
              <a:t>solusi</a:t>
            </a:r>
            <a:r>
              <a:rPr lang="en-ID" b="0" dirty="0">
                <a:latin typeface="+mj-lt"/>
              </a:rPr>
              <a:t> </a:t>
            </a:r>
            <a:r>
              <a:rPr lang="en-ID" b="0" dirty="0" err="1">
                <a:latin typeface="+mj-lt"/>
              </a:rPr>
              <a:t>sebelum</a:t>
            </a:r>
            <a:r>
              <a:rPr lang="en-ID" b="0" dirty="0">
                <a:latin typeface="+mj-lt"/>
              </a:rPr>
              <a:t> </a:t>
            </a:r>
            <a:r>
              <a:rPr lang="en-ID" b="0" dirty="0" err="1">
                <a:latin typeface="+mj-lt"/>
              </a:rPr>
              <a:t>pelanggan</a:t>
            </a:r>
            <a:r>
              <a:rPr lang="en-ID" b="0" dirty="0">
                <a:latin typeface="+mj-lt"/>
              </a:rPr>
              <a:t> </a:t>
            </a:r>
            <a:r>
              <a:rPr lang="en-ID" b="0" dirty="0" err="1">
                <a:latin typeface="+mj-lt"/>
              </a:rPr>
              <a:t>menyampaikan</a:t>
            </a:r>
            <a:r>
              <a:rPr lang="en-ID" b="0" dirty="0">
                <a:latin typeface="+mj-lt"/>
              </a:rPr>
              <a:t> </a:t>
            </a:r>
            <a:r>
              <a:rPr lang="en-ID" b="0" dirty="0" err="1">
                <a:latin typeface="+mj-lt"/>
              </a:rPr>
              <a:t>keluhan</a:t>
            </a:r>
            <a:r>
              <a:rPr lang="en-ID" b="0" dirty="0">
                <a:latin typeface="+mj-lt"/>
              </a:rPr>
              <a:t>, dan </a:t>
            </a:r>
            <a:r>
              <a:rPr lang="en-ID" b="0" dirty="0" err="1">
                <a:latin typeface="+mj-lt"/>
              </a:rPr>
              <a:t>memastikan</a:t>
            </a:r>
            <a:r>
              <a:rPr lang="en-ID" b="0" dirty="0">
                <a:latin typeface="+mj-lt"/>
              </a:rPr>
              <a:t> </a:t>
            </a:r>
            <a:r>
              <a:rPr lang="en-ID" b="0" dirty="0" err="1">
                <a:latin typeface="+mj-lt"/>
              </a:rPr>
              <a:t>bahwa</a:t>
            </a:r>
            <a:r>
              <a:rPr lang="en-ID" b="0" dirty="0">
                <a:latin typeface="+mj-lt"/>
              </a:rPr>
              <a:t> </a:t>
            </a:r>
            <a:r>
              <a:rPr lang="en-ID" b="0" dirty="0" err="1">
                <a:latin typeface="+mj-lt"/>
              </a:rPr>
              <a:t>pelanggan</a:t>
            </a:r>
            <a:r>
              <a:rPr lang="en-ID" b="0" dirty="0">
                <a:latin typeface="+mj-lt"/>
              </a:rPr>
              <a:t> </a:t>
            </a:r>
            <a:r>
              <a:rPr lang="en-ID" b="0" dirty="0" err="1">
                <a:latin typeface="+mj-lt"/>
              </a:rPr>
              <a:t>merasa</a:t>
            </a:r>
            <a:r>
              <a:rPr lang="en-ID" b="0" dirty="0">
                <a:latin typeface="+mj-lt"/>
              </a:rPr>
              <a:t> </a:t>
            </a:r>
            <a:r>
              <a:rPr lang="en-ID" b="0" dirty="0" err="1">
                <a:latin typeface="+mj-lt"/>
              </a:rPr>
              <a:t>didengar</a:t>
            </a:r>
            <a:r>
              <a:rPr lang="en-ID" b="0" dirty="0">
                <a:latin typeface="+mj-lt"/>
              </a:rPr>
              <a:t> dan </a:t>
            </a:r>
            <a:r>
              <a:rPr lang="en-ID" b="0" dirty="0" err="1">
                <a:latin typeface="+mj-lt"/>
              </a:rPr>
              <a:t>dihargai</a:t>
            </a:r>
            <a:r>
              <a:rPr lang="en-ID" b="0" dirty="0">
                <a:latin typeface="+mj-lt"/>
              </a:rPr>
              <a:t>.</a:t>
            </a:r>
            <a:endParaRPr lang="en-ID" b="0" dirty="0">
              <a:solidFill>
                <a:srgbClr val="212121"/>
              </a:solidFill>
              <a:highlight>
                <a:srgbClr val="FFFFFF"/>
              </a:highlight>
              <a:latin typeface="+mj-lt"/>
            </a:endParaRPr>
          </a:p>
          <a:p>
            <a:pPr algn="l"/>
            <a:endParaRPr lang="en-ID" b="0" i="0" dirty="0">
              <a:solidFill>
                <a:srgbClr val="212121"/>
              </a:solidFill>
              <a:effectLst/>
              <a:highlight>
                <a:srgbClr val="FFFFFF"/>
              </a:highlight>
              <a:latin typeface="+mj-lt"/>
            </a:endParaRPr>
          </a:p>
          <a:p>
            <a:endParaRPr lang="en-ID" dirty="0"/>
          </a:p>
        </p:txBody>
      </p:sp>
    </p:spTree>
    <p:extLst>
      <p:ext uri="{BB962C8B-B14F-4D97-AF65-F5344CB8AC3E}">
        <p14:creationId xmlns:p14="http://schemas.microsoft.com/office/powerpoint/2010/main" val="3517291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B7ECA-2F8E-6A46-2124-0B5D8D58F200}"/>
              </a:ext>
            </a:extLst>
          </p:cNvPr>
          <p:cNvSpPr>
            <a:spLocks noGrp="1"/>
          </p:cNvSpPr>
          <p:nvPr>
            <p:ph type="title"/>
          </p:nvPr>
        </p:nvSpPr>
        <p:spPr/>
        <p:txBody>
          <a:bodyPr/>
          <a:lstStyle/>
          <a:p>
            <a:r>
              <a:rPr lang="en-ID" dirty="0" err="1">
                <a:highlight>
                  <a:srgbClr val="FFFFFF"/>
                </a:highlight>
              </a:rPr>
              <a:t>T</a:t>
            </a:r>
            <a:r>
              <a:rPr lang="en-ID" i="0" dirty="0" err="1">
                <a:effectLst/>
                <a:highlight>
                  <a:srgbClr val="FFFFFF"/>
                </a:highlight>
              </a:rPr>
              <a:t>etapkan</a:t>
            </a:r>
            <a:r>
              <a:rPr lang="en-ID" i="0" dirty="0">
                <a:effectLst/>
                <a:highlight>
                  <a:srgbClr val="FFFFFF"/>
                </a:highlight>
              </a:rPr>
              <a:t> </a:t>
            </a:r>
            <a:r>
              <a:rPr lang="en-ID" i="0" dirty="0" err="1">
                <a:effectLst/>
                <a:highlight>
                  <a:srgbClr val="FFFFFF"/>
                </a:highlight>
              </a:rPr>
              <a:t>tujuan</a:t>
            </a:r>
            <a:r>
              <a:rPr lang="en-ID" i="0" dirty="0">
                <a:effectLst/>
                <a:highlight>
                  <a:srgbClr val="FFFFFF"/>
                </a:highlight>
              </a:rPr>
              <a:t> dan </a:t>
            </a:r>
            <a:r>
              <a:rPr lang="en-ID" i="0" dirty="0" err="1">
                <a:effectLst/>
                <a:highlight>
                  <a:srgbClr val="FFFFFF"/>
                </a:highlight>
              </a:rPr>
              <a:t>metrik</a:t>
            </a:r>
            <a:r>
              <a:rPr lang="en-ID" i="0" dirty="0">
                <a:effectLst/>
                <a:highlight>
                  <a:srgbClr val="FFFFFF"/>
                </a:highlight>
              </a:rPr>
              <a:t> yang </a:t>
            </a:r>
            <a:r>
              <a:rPr lang="en-ID" i="0" dirty="0" err="1">
                <a:effectLst/>
                <a:highlight>
                  <a:srgbClr val="FFFFFF"/>
                </a:highlight>
              </a:rPr>
              <a:t>jelas</a:t>
            </a:r>
            <a:r>
              <a:rPr lang="en-ID" i="0" dirty="0">
                <a:effectLst/>
                <a:highlight>
                  <a:srgbClr val="FFFFFF"/>
                </a:highlight>
              </a:rPr>
              <a:t> (ROI, Conversion Rate, dan Customer Acquisition Rate)</a:t>
            </a:r>
            <a:endParaRPr lang="en-ID" dirty="0"/>
          </a:p>
        </p:txBody>
      </p:sp>
      <p:sp>
        <p:nvSpPr>
          <p:cNvPr id="3" name="Text Placeholder 2">
            <a:extLst>
              <a:ext uri="{FF2B5EF4-FFF2-40B4-BE49-F238E27FC236}">
                <a16:creationId xmlns:a16="http://schemas.microsoft.com/office/drawing/2014/main" id="{E46139CC-7452-18CB-97B8-2920FFCD3BBA}"/>
              </a:ext>
            </a:extLst>
          </p:cNvPr>
          <p:cNvSpPr>
            <a:spLocks noGrp="1"/>
          </p:cNvSpPr>
          <p:nvPr>
            <p:ph type="body" sz="quarter" idx="10"/>
          </p:nvPr>
        </p:nvSpPr>
        <p:spPr>
          <a:xfrm>
            <a:off x="844060" y="2263139"/>
            <a:ext cx="16611131" cy="7609523"/>
          </a:xfrm>
        </p:spPr>
        <p:txBody>
          <a:bodyPr/>
          <a:lstStyle/>
          <a:p>
            <a:pPr algn="l">
              <a:buFont typeface="Arial" panose="020B0604020202020204" pitchFamily="34" charset="0"/>
              <a:buChar char="•"/>
            </a:pPr>
            <a:r>
              <a:rPr lang="en-ID" b="0" i="0" dirty="0">
                <a:effectLst/>
                <a:highlight>
                  <a:srgbClr val="FFFFFF"/>
                </a:highlight>
                <a:latin typeface="+mj-lt"/>
              </a:rPr>
              <a:t>Target: </a:t>
            </a:r>
            <a:r>
              <a:rPr lang="en-ID" b="0" i="0" dirty="0" err="1">
                <a:effectLst/>
                <a:highlight>
                  <a:srgbClr val="FFFFFF"/>
                </a:highlight>
                <a:latin typeface="+mj-lt"/>
              </a:rPr>
              <a:t>Tingkatkan</a:t>
            </a:r>
            <a:r>
              <a:rPr lang="en-ID" b="0" i="0" dirty="0">
                <a:effectLst/>
                <a:highlight>
                  <a:srgbClr val="FFFFFF"/>
                </a:highlight>
                <a:latin typeface="+mj-lt"/>
              </a:rPr>
              <a:t> ROI </a:t>
            </a:r>
            <a:r>
              <a:rPr lang="en-ID" b="0" i="0" dirty="0" err="1">
                <a:effectLst/>
                <a:highlight>
                  <a:srgbClr val="FFFFFF"/>
                </a:highlight>
                <a:latin typeface="+mj-lt"/>
              </a:rPr>
              <a:t>kampanye</a:t>
            </a:r>
            <a:r>
              <a:rPr lang="en-ID" b="0" i="0" dirty="0">
                <a:effectLst/>
                <a:highlight>
                  <a:srgbClr val="FFFFFF"/>
                </a:highlight>
                <a:latin typeface="+mj-lt"/>
              </a:rPr>
              <a:t> </a:t>
            </a:r>
            <a:r>
              <a:rPr lang="en-ID" b="0" i="0" dirty="0" err="1">
                <a:effectLst/>
                <a:highlight>
                  <a:srgbClr val="FFFFFF"/>
                </a:highlight>
                <a:latin typeface="+mj-lt"/>
              </a:rPr>
              <a:t>sebesar</a:t>
            </a:r>
            <a:r>
              <a:rPr lang="en-ID" b="0" i="0" dirty="0">
                <a:effectLst/>
                <a:highlight>
                  <a:srgbClr val="FFFFFF"/>
                </a:highlight>
                <a:latin typeface="+mj-lt"/>
              </a:rPr>
              <a:t> 15-20% dan </a:t>
            </a:r>
            <a:r>
              <a:rPr lang="en-ID" b="0" i="0" dirty="0" err="1">
                <a:effectLst/>
                <a:highlight>
                  <a:srgbClr val="FFFFFF"/>
                </a:highlight>
                <a:latin typeface="+mj-lt"/>
              </a:rPr>
              <a:t>tingkatkan</a:t>
            </a:r>
            <a:r>
              <a:rPr lang="en-ID" b="0" i="0" dirty="0">
                <a:effectLst/>
                <a:highlight>
                  <a:srgbClr val="FFFFFF"/>
                </a:highlight>
                <a:latin typeface="+mj-lt"/>
              </a:rPr>
              <a:t> </a:t>
            </a:r>
            <a:r>
              <a:rPr lang="en-ID" b="0" i="0" dirty="0" err="1">
                <a:effectLst/>
                <a:highlight>
                  <a:srgbClr val="FFFFFF"/>
                </a:highlight>
                <a:latin typeface="+mj-lt"/>
              </a:rPr>
              <a:t>tingkat</a:t>
            </a:r>
            <a:r>
              <a:rPr lang="en-ID" b="0" i="0" dirty="0">
                <a:effectLst/>
                <a:highlight>
                  <a:srgbClr val="FFFFFF"/>
                </a:highlight>
                <a:latin typeface="+mj-lt"/>
              </a:rPr>
              <a:t> </a:t>
            </a:r>
            <a:r>
              <a:rPr lang="en-ID" b="0" i="0" dirty="0" err="1">
                <a:effectLst/>
                <a:highlight>
                  <a:srgbClr val="FFFFFF"/>
                </a:highlight>
                <a:latin typeface="+mj-lt"/>
              </a:rPr>
              <a:t>konversi</a:t>
            </a:r>
            <a:r>
              <a:rPr lang="en-ID" b="0" i="0" dirty="0">
                <a:effectLst/>
                <a:highlight>
                  <a:srgbClr val="FFFFFF"/>
                </a:highlight>
                <a:latin typeface="+mj-lt"/>
              </a:rPr>
              <a:t> </a:t>
            </a:r>
            <a:r>
              <a:rPr lang="en-ID" b="0" i="0" dirty="0" err="1">
                <a:effectLst/>
                <a:highlight>
                  <a:srgbClr val="FFFFFF"/>
                </a:highlight>
                <a:latin typeface="+mj-lt"/>
              </a:rPr>
              <a:t>dengan</a:t>
            </a:r>
            <a:r>
              <a:rPr lang="en-ID" b="0" i="0" dirty="0">
                <a:effectLst/>
                <a:highlight>
                  <a:srgbClr val="FFFFFF"/>
                </a:highlight>
                <a:latin typeface="+mj-lt"/>
              </a:rPr>
              <a:t> </a:t>
            </a:r>
            <a:r>
              <a:rPr lang="en-ID" b="0" i="0" dirty="0" err="1">
                <a:effectLst/>
                <a:highlight>
                  <a:srgbClr val="FFFFFF"/>
                </a:highlight>
                <a:latin typeface="+mj-lt"/>
              </a:rPr>
              <a:t>fokus</a:t>
            </a:r>
            <a:r>
              <a:rPr lang="en-ID" b="0" i="0" dirty="0">
                <a:effectLst/>
                <a:highlight>
                  <a:srgbClr val="FFFFFF"/>
                </a:highlight>
                <a:latin typeface="+mj-lt"/>
              </a:rPr>
              <a:t> pada </a:t>
            </a:r>
            <a:r>
              <a:rPr lang="en-ID" b="0" i="0" dirty="0" err="1">
                <a:effectLst/>
                <a:highlight>
                  <a:srgbClr val="FFFFFF"/>
                </a:highlight>
                <a:latin typeface="+mj-lt"/>
              </a:rPr>
              <a:t>audiens</a:t>
            </a:r>
            <a:r>
              <a:rPr lang="en-ID" b="0" i="0" dirty="0">
                <a:effectLst/>
                <a:highlight>
                  <a:srgbClr val="FFFFFF"/>
                </a:highlight>
                <a:latin typeface="+mj-lt"/>
              </a:rPr>
              <a:t> yang </a:t>
            </a:r>
            <a:r>
              <a:rPr lang="en-ID" b="0" i="0" dirty="0" err="1">
                <a:effectLst/>
                <a:highlight>
                  <a:srgbClr val="FFFFFF"/>
                </a:highlight>
                <a:latin typeface="+mj-lt"/>
              </a:rPr>
              <a:t>ditargetkan</a:t>
            </a:r>
            <a:r>
              <a:rPr lang="en-ID" b="0" i="0" dirty="0">
                <a:effectLst/>
                <a:highlight>
                  <a:srgbClr val="FFFFFF"/>
                </a:highlight>
                <a:latin typeface="+mj-lt"/>
              </a:rPr>
              <a:t>.</a:t>
            </a:r>
          </a:p>
          <a:p>
            <a:pPr algn="l"/>
            <a:endParaRPr lang="en-ID" b="0" i="0" dirty="0">
              <a:effectLst/>
              <a:highlight>
                <a:srgbClr val="FFFFFF"/>
              </a:highlight>
              <a:latin typeface="+mj-lt"/>
            </a:endParaRPr>
          </a:p>
          <a:p>
            <a:pPr algn="l">
              <a:buFont typeface="Arial" panose="020B0604020202020204" pitchFamily="34" charset="0"/>
              <a:buChar char="•"/>
            </a:pPr>
            <a:r>
              <a:rPr lang="en-ID" b="0" i="0" dirty="0">
                <a:effectLst/>
                <a:highlight>
                  <a:srgbClr val="FFFFFF"/>
                </a:highlight>
                <a:latin typeface="+mj-lt"/>
              </a:rPr>
              <a:t>Strategi: </a:t>
            </a:r>
            <a:r>
              <a:rPr lang="en-ID" b="0" i="0" dirty="0" err="1">
                <a:effectLst/>
                <a:highlight>
                  <a:srgbClr val="FFFFFF"/>
                </a:highlight>
                <a:latin typeface="+mj-lt"/>
              </a:rPr>
              <a:t>Untuk</a:t>
            </a:r>
            <a:r>
              <a:rPr lang="en-ID" b="0" i="0" dirty="0">
                <a:effectLst/>
                <a:highlight>
                  <a:srgbClr val="FFFFFF"/>
                </a:highlight>
                <a:latin typeface="+mj-lt"/>
              </a:rPr>
              <a:t> </a:t>
            </a:r>
            <a:r>
              <a:rPr lang="en-ID" b="0" i="0" dirty="0" err="1">
                <a:effectLst/>
                <a:highlight>
                  <a:srgbClr val="FFFFFF"/>
                </a:highlight>
                <a:latin typeface="+mj-lt"/>
              </a:rPr>
              <a:t>mengukur</a:t>
            </a:r>
            <a:r>
              <a:rPr lang="en-ID" b="0" i="0" dirty="0">
                <a:effectLst/>
                <a:highlight>
                  <a:srgbClr val="FFFFFF"/>
                </a:highlight>
                <a:latin typeface="+mj-lt"/>
              </a:rPr>
              <a:t> dan </a:t>
            </a:r>
            <a:r>
              <a:rPr lang="en-ID" b="0" i="0" dirty="0" err="1">
                <a:effectLst/>
                <a:highlight>
                  <a:srgbClr val="FFFFFF"/>
                </a:highlight>
                <a:latin typeface="+mj-lt"/>
              </a:rPr>
              <a:t>meningkatkan</a:t>
            </a:r>
            <a:r>
              <a:rPr lang="en-ID" b="0" i="0" dirty="0">
                <a:effectLst/>
                <a:highlight>
                  <a:srgbClr val="FFFFFF"/>
                </a:highlight>
                <a:latin typeface="+mj-lt"/>
              </a:rPr>
              <a:t> </a:t>
            </a:r>
            <a:r>
              <a:rPr lang="en-ID" b="0" i="0" dirty="0" err="1">
                <a:effectLst/>
                <a:highlight>
                  <a:srgbClr val="FFFFFF"/>
                </a:highlight>
                <a:latin typeface="+mj-lt"/>
              </a:rPr>
              <a:t>efektivitas</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a:t>
            </a:r>
            <a:r>
              <a:rPr lang="en-ID" b="0" i="0" dirty="0" err="1">
                <a:effectLst/>
                <a:highlight>
                  <a:srgbClr val="FFFFFF"/>
                </a:highlight>
                <a:latin typeface="+mj-lt"/>
              </a:rPr>
              <a:t>tetapkan</a:t>
            </a:r>
            <a:r>
              <a:rPr lang="en-ID" b="0" i="0" dirty="0">
                <a:effectLst/>
                <a:highlight>
                  <a:srgbClr val="FFFFFF"/>
                </a:highlight>
                <a:latin typeface="+mj-lt"/>
              </a:rPr>
              <a:t> </a:t>
            </a:r>
            <a:r>
              <a:rPr lang="en-ID" b="0" i="0" dirty="0" err="1">
                <a:effectLst/>
                <a:highlight>
                  <a:srgbClr val="FFFFFF"/>
                </a:highlight>
                <a:latin typeface="+mj-lt"/>
              </a:rPr>
              <a:t>tujuan</a:t>
            </a:r>
            <a:r>
              <a:rPr lang="en-ID" b="0" i="0" dirty="0">
                <a:effectLst/>
                <a:highlight>
                  <a:srgbClr val="FFFFFF"/>
                </a:highlight>
                <a:latin typeface="+mj-lt"/>
              </a:rPr>
              <a:t> dan </a:t>
            </a:r>
            <a:r>
              <a:rPr lang="en-ID" b="0" i="0" dirty="0" err="1">
                <a:effectLst/>
                <a:highlight>
                  <a:srgbClr val="FFFFFF"/>
                </a:highlight>
                <a:latin typeface="+mj-lt"/>
              </a:rPr>
              <a:t>metrik</a:t>
            </a:r>
            <a:r>
              <a:rPr lang="en-ID" b="0" i="0" dirty="0">
                <a:effectLst/>
                <a:highlight>
                  <a:srgbClr val="FFFFFF"/>
                </a:highlight>
                <a:latin typeface="+mj-lt"/>
              </a:rPr>
              <a:t> yang </a:t>
            </a:r>
            <a:r>
              <a:rPr lang="en-ID" b="0" i="0" dirty="0" err="1">
                <a:effectLst/>
                <a:highlight>
                  <a:srgbClr val="FFFFFF"/>
                </a:highlight>
                <a:latin typeface="+mj-lt"/>
              </a:rPr>
              <a:t>jelas</a:t>
            </a:r>
            <a:r>
              <a:rPr lang="en-ID" b="0" i="0" dirty="0">
                <a:effectLst/>
                <a:highlight>
                  <a:srgbClr val="FFFFFF"/>
                </a:highlight>
                <a:latin typeface="+mj-lt"/>
              </a:rPr>
              <a:t> </a:t>
            </a:r>
            <a:r>
              <a:rPr lang="en-ID" b="0" i="0" dirty="0" err="1">
                <a:effectLst/>
                <a:highlight>
                  <a:srgbClr val="FFFFFF"/>
                </a:highlight>
                <a:latin typeface="+mj-lt"/>
              </a:rPr>
              <a:t>seperti</a:t>
            </a:r>
            <a:r>
              <a:rPr lang="en-ID" b="0" i="0" dirty="0">
                <a:effectLst/>
                <a:highlight>
                  <a:srgbClr val="FFFFFF"/>
                </a:highlight>
                <a:latin typeface="+mj-lt"/>
              </a:rPr>
              <a:t> ROI, </a:t>
            </a:r>
            <a:r>
              <a:rPr lang="en-ID" b="0" i="0" dirty="0" err="1">
                <a:effectLst/>
                <a:highlight>
                  <a:srgbClr val="FFFFFF"/>
                </a:highlight>
                <a:latin typeface="+mj-lt"/>
              </a:rPr>
              <a:t>tingkat</a:t>
            </a:r>
            <a:r>
              <a:rPr lang="en-ID" b="0" i="0" dirty="0">
                <a:effectLst/>
                <a:highlight>
                  <a:srgbClr val="FFFFFF"/>
                </a:highlight>
                <a:latin typeface="+mj-lt"/>
              </a:rPr>
              <a:t> </a:t>
            </a:r>
            <a:r>
              <a:rPr lang="en-ID" b="0" i="0" dirty="0" err="1">
                <a:effectLst/>
                <a:highlight>
                  <a:srgbClr val="FFFFFF"/>
                </a:highlight>
                <a:latin typeface="+mj-lt"/>
              </a:rPr>
              <a:t>konversi</a:t>
            </a:r>
            <a:r>
              <a:rPr lang="en-ID" b="0" i="0" dirty="0">
                <a:effectLst/>
                <a:highlight>
                  <a:srgbClr val="FFFFFF"/>
                </a:highlight>
                <a:latin typeface="+mj-lt"/>
              </a:rPr>
              <a:t>, dan </a:t>
            </a:r>
            <a:r>
              <a:rPr lang="en-ID" b="0" i="0" dirty="0" err="1">
                <a:effectLst/>
                <a:highlight>
                  <a:srgbClr val="FFFFFF"/>
                </a:highlight>
                <a:latin typeface="+mj-lt"/>
              </a:rPr>
              <a:t>biaya</a:t>
            </a:r>
            <a:r>
              <a:rPr lang="en-ID" b="0" i="0" dirty="0">
                <a:effectLst/>
                <a:highlight>
                  <a:srgbClr val="FFFFFF"/>
                </a:highlight>
                <a:latin typeface="+mj-lt"/>
              </a:rPr>
              <a:t> </a:t>
            </a:r>
            <a:r>
              <a:rPr lang="en-ID" b="0" i="0" dirty="0" err="1">
                <a:effectLst/>
                <a:highlight>
                  <a:srgbClr val="FFFFFF"/>
                </a:highlight>
                <a:latin typeface="+mj-lt"/>
              </a:rPr>
              <a:t>akuisisi</a:t>
            </a:r>
            <a:r>
              <a:rPr lang="en-ID" b="0" i="0" dirty="0">
                <a:effectLst/>
                <a:highlight>
                  <a:srgbClr val="FFFFFF"/>
                </a:highlight>
                <a:latin typeface="+mj-lt"/>
              </a:rPr>
              <a:t> </a:t>
            </a:r>
            <a:r>
              <a:rPr lang="en-ID" b="0" i="0" dirty="0" err="1">
                <a:effectLst/>
                <a:highlight>
                  <a:srgbClr val="FFFFFF"/>
                </a:highlight>
                <a:latin typeface="+mj-lt"/>
              </a:rPr>
              <a:t>pelanggan</a:t>
            </a:r>
            <a:r>
              <a:rPr lang="en-ID" b="0" i="0" dirty="0">
                <a:effectLst/>
                <a:highlight>
                  <a:srgbClr val="FFFFFF"/>
                </a:highlight>
                <a:latin typeface="+mj-lt"/>
              </a:rPr>
              <a:t>. </a:t>
            </a:r>
            <a:r>
              <a:rPr lang="en-ID" b="0" i="0" dirty="0" err="1">
                <a:effectLst/>
                <a:highlight>
                  <a:srgbClr val="FFFFFF"/>
                </a:highlight>
                <a:latin typeface="+mj-lt"/>
              </a:rPr>
              <a:t>Menggunakan</a:t>
            </a:r>
            <a:r>
              <a:rPr lang="en-ID" b="0" i="0" dirty="0">
                <a:effectLst/>
                <a:highlight>
                  <a:srgbClr val="FFFFFF"/>
                </a:highlight>
                <a:latin typeface="+mj-lt"/>
              </a:rPr>
              <a:t> </a:t>
            </a:r>
            <a:r>
              <a:rPr lang="en-ID" b="0" i="0" dirty="0" err="1">
                <a:effectLst/>
                <a:highlight>
                  <a:srgbClr val="FFFFFF"/>
                </a:highlight>
                <a:latin typeface="+mj-lt"/>
              </a:rPr>
              <a:t>kerangka</a:t>
            </a:r>
            <a:r>
              <a:rPr lang="en-ID" b="0" i="0" dirty="0">
                <a:effectLst/>
                <a:highlight>
                  <a:srgbClr val="FFFFFF"/>
                </a:highlight>
                <a:latin typeface="+mj-lt"/>
              </a:rPr>
              <a:t> </a:t>
            </a:r>
            <a:r>
              <a:rPr lang="en-ID" b="0" i="0" dirty="0" err="1">
                <a:effectLst/>
                <a:highlight>
                  <a:srgbClr val="FFFFFF"/>
                </a:highlight>
                <a:latin typeface="+mj-lt"/>
              </a:rPr>
              <a:t>pengukuran</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yang </a:t>
            </a:r>
            <a:r>
              <a:rPr lang="en-ID" b="0" i="0" dirty="0" err="1">
                <a:effectLst/>
                <a:highlight>
                  <a:srgbClr val="FFFFFF"/>
                </a:highlight>
                <a:latin typeface="+mj-lt"/>
              </a:rPr>
              <a:t>terstruktur</a:t>
            </a:r>
            <a:r>
              <a:rPr lang="en-ID" b="0" i="0" dirty="0">
                <a:effectLst/>
                <a:highlight>
                  <a:srgbClr val="FFFFFF"/>
                </a:highlight>
                <a:latin typeface="+mj-lt"/>
              </a:rPr>
              <a:t> </a:t>
            </a:r>
            <a:r>
              <a:rPr lang="en-ID" b="0" i="0" dirty="0" err="1">
                <a:effectLst/>
                <a:highlight>
                  <a:srgbClr val="FFFFFF"/>
                </a:highlight>
                <a:latin typeface="+mj-lt"/>
              </a:rPr>
              <a:t>dengan</a:t>
            </a:r>
            <a:r>
              <a:rPr lang="en-ID" b="0" i="0" dirty="0">
                <a:effectLst/>
                <a:highlight>
                  <a:srgbClr val="FFFFFF"/>
                </a:highlight>
                <a:latin typeface="+mj-lt"/>
              </a:rPr>
              <a:t> </a:t>
            </a:r>
            <a:r>
              <a:rPr lang="en-ID" b="0" i="0" dirty="0" err="1">
                <a:effectLst/>
                <a:highlight>
                  <a:srgbClr val="FFFFFF"/>
                </a:highlight>
                <a:latin typeface="+mj-lt"/>
              </a:rPr>
              <a:t>baik</a:t>
            </a:r>
            <a:r>
              <a:rPr lang="en-ID" b="0" i="0" dirty="0">
                <a:effectLst/>
                <a:highlight>
                  <a:srgbClr val="FFFFFF"/>
                </a:highlight>
                <a:latin typeface="+mj-lt"/>
              </a:rPr>
              <a:t> </a:t>
            </a:r>
            <a:r>
              <a:rPr lang="en-ID" b="0" i="0" dirty="0" err="1">
                <a:effectLst/>
                <a:highlight>
                  <a:srgbClr val="FFFFFF"/>
                </a:highlight>
                <a:latin typeface="+mj-lt"/>
              </a:rPr>
              <a:t>dapat</a:t>
            </a:r>
            <a:r>
              <a:rPr lang="en-ID" b="0" i="0" dirty="0">
                <a:effectLst/>
                <a:highlight>
                  <a:srgbClr val="FFFFFF"/>
                </a:highlight>
                <a:latin typeface="+mj-lt"/>
              </a:rPr>
              <a:t> </a:t>
            </a:r>
            <a:r>
              <a:rPr lang="en-ID" b="0" i="0" dirty="0" err="1">
                <a:effectLst/>
                <a:highlight>
                  <a:srgbClr val="FFFFFF"/>
                </a:highlight>
                <a:latin typeface="+mj-lt"/>
              </a:rPr>
              <a:t>membantu</a:t>
            </a:r>
            <a:r>
              <a:rPr lang="en-ID" b="0" i="0" dirty="0">
                <a:effectLst/>
                <a:highlight>
                  <a:srgbClr val="FFFFFF"/>
                </a:highlight>
                <a:latin typeface="+mj-lt"/>
              </a:rPr>
              <a:t> </a:t>
            </a:r>
            <a:r>
              <a:rPr lang="en-ID" b="0" i="0" dirty="0" err="1">
                <a:effectLst/>
                <a:highlight>
                  <a:srgbClr val="FFFFFF"/>
                </a:highlight>
                <a:latin typeface="+mj-lt"/>
              </a:rPr>
              <a:t>mengidentifikasi</a:t>
            </a:r>
            <a:r>
              <a:rPr lang="en-ID" b="0" i="0" dirty="0">
                <a:effectLst/>
                <a:highlight>
                  <a:srgbClr val="FFFFFF"/>
                </a:highlight>
                <a:latin typeface="+mj-lt"/>
              </a:rPr>
              <a:t> </a:t>
            </a:r>
            <a:r>
              <a:rPr lang="en-ID" b="0" i="0" dirty="0" err="1">
                <a:effectLst/>
                <a:highlight>
                  <a:srgbClr val="FFFFFF"/>
                </a:highlight>
                <a:latin typeface="+mj-lt"/>
              </a:rPr>
              <a:t>tren</a:t>
            </a:r>
            <a:r>
              <a:rPr lang="en-ID" b="0" i="0" dirty="0">
                <a:effectLst/>
                <a:highlight>
                  <a:srgbClr val="FFFFFF"/>
                </a:highlight>
                <a:latin typeface="+mj-lt"/>
              </a:rPr>
              <a:t> dan </a:t>
            </a:r>
            <a:r>
              <a:rPr lang="en-ID" b="0" i="0" dirty="0" err="1">
                <a:effectLst/>
                <a:highlight>
                  <a:srgbClr val="FFFFFF"/>
                </a:highlight>
                <a:latin typeface="+mj-lt"/>
              </a:rPr>
              <a:t>membuat</a:t>
            </a:r>
            <a:r>
              <a:rPr lang="en-ID" b="0" i="0" dirty="0">
                <a:effectLst/>
                <a:highlight>
                  <a:srgbClr val="FFFFFF"/>
                </a:highlight>
                <a:latin typeface="+mj-lt"/>
              </a:rPr>
              <a:t> </a:t>
            </a:r>
            <a:r>
              <a:rPr lang="en-ID" b="0" i="0" dirty="0" err="1">
                <a:effectLst/>
                <a:highlight>
                  <a:srgbClr val="FFFFFF"/>
                </a:highlight>
                <a:latin typeface="+mj-lt"/>
              </a:rPr>
              <a:t>penyesuaian</a:t>
            </a:r>
            <a:r>
              <a:rPr lang="en-ID" b="0" i="0" dirty="0">
                <a:effectLst/>
                <a:highlight>
                  <a:srgbClr val="FFFFFF"/>
                </a:highlight>
                <a:latin typeface="+mj-lt"/>
              </a:rPr>
              <a:t> </a:t>
            </a:r>
            <a:r>
              <a:rPr lang="en-ID" b="0" i="0" dirty="0" err="1">
                <a:effectLst/>
                <a:highlight>
                  <a:srgbClr val="FFFFFF"/>
                </a:highlight>
                <a:latin typeface="+mj-lt"/>
              </a:rPr>
              <a:t>berbasis</a:t>
            </a:r>
            <a:r>
              <a:rPr lang="en-ID" b="0" i="0" dirty="0">
                <a:effectLst/>
                <a:highlight>
                  <a:srgbClr val="FFFFFF"/>
                </a:highlight>
                <a:latin typeface="+mj-lt"/>
              </a:rPr>
              <a:t> data </a:t>
            </a:r>
            <a:r>
              <a:rPr lang="en-ID" b="0" i="0" dirty="0" err="1">
                <a:effectLst/>
                <a:highlight>
                  <a:srgbClr val="FFFFFF"/>
                </a:highlight>
                <a:latin typeface="+mj-lt"/>
              </a:rPr>
              <a:t>untuk</a:t>
            </a:r>
            <a:r>
              <a:rPr lang="en-ID" b="0" i="0" dirty="0">
                <a:effectLst/>
                <a:highlight>
                  <a:srgbClr val="FFFFFF"/>
                </a:highlight>
                <a:latin typeface="+mj-lt"/>
              </a:rPr>
              <a:t> </a:t>
            </a:r>
            <a:r>
              <a:rPr lang="en-ID" b="0" i="0" dirty="0" err="1">
                <a:effectLst/>
                <a:highlight>
                  <a:srgbClr val="FFFFFF"/>
                </a:highlight>
                <a:latin typeface="+mj-lt"/>
              </a:rPr>
              <a:t>mengoptimalkan</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yang </a:t>
            </a:r>
            <a:r>
              <a:rPr lang="en-ID" b="0" i="0" dirty="0" err="1">
                <a:effectLst/>
                <a:highlight>
                  <a:srgbClr val="FFFFFF"/>
                </a:highlight>
                <a:latin typeface="+mj-lt"/>
              </a:rPr>
              <a:t>sedang</a:t>
            </a:r>
            <a:r>
              <a:rPr lang="en-ID" b="0" i="0" dirty="0">
                <a:effectLst/>
                <a:highlight>
                  <a:srgbClr val="FFFFFF"/>
                </a:highlight>
                <a:latin typeface="+mj-lt"/>
              </a:rPr>
              <a:t> </a:t>
            </a:r>
            <a:r>
              <a:rPr lang="en-ID" b="0" i="0" dirty="0" err="1">
                <a:effectLst/>
                <a:highlight>
                  <a:srgbClr val="FFFFFF"/>
                </a:highlight>
                <a:latin typeface="+mj-lt"/>
              </a:rPr>
              <a:t>berjalan</a:t>
            </a:r>
            <a:r>
              <a:rPr lang="en-ID" b="0" i="0" dirty="0">
                <a:effectLst/>
                <a:highlight>
                  <a:srgbClr val="FFFFFF"/>
                </a:highlight>
                <a:latin typeface="+mj-lt"/>
              </a:rPr>
              <a:t>.</a:t>
            </a:r>
          </a:p>
          <a:p>
            <a:pPr algn="l">
              <a:buFont typeface="Arial" panose="020B0604020202020204" pitchFamily="34" charset="0"/>
              <a:buChar char="•"/>
            </a:pPr>
            <a:endParaRPr lang="en-ID" b="0" i="0" dirty="0">
              <a:effectLst/>
              <a:highlight>
                <a:srgbClr val="FFFFFF"/>
              </a:highlight>
              <a:latin typeface="+mj-lt"/>
            </a:endParaRPr>
          </a:p>
          <a:p>
            <a:r>
              <a:rPr lang="en-ID" b="0" dirty="0"/>
              <a:t>Return on Investment (ROI) </a:t>
            </a:r>
            <a:r>
              <a:rPr lang="en-ID" b="0" dirty="0" err="1"/>
              <a:t>adalah</a:t>
            </a:r>
            <a:r>
              <a:rPr lang="en-ID" b="0" dirty="0"/>
              <a:t> </a:t>
            </a:r>
            <a:r>
              <a:rPr lang="en-ID" b="0" dirty="0" err="1"/>
              <a:t>sebuah</a:t>
            </a:r>
            <a:r>
              <a:rPr lang="en-ID" b="0" dirty="0"/>
              <a:t> </a:t>
            </a:r>
            <a:r>
              <a:rPr lang="en-ID" b="0" dirty="0" err="1"/>
              <a:t>metrik</a:t>
            </a:r>
            <a:r>
              <a:rPr lang="en-ID" b="0" dirty="0"/>
              <a:t> </a:t>
            </a:r>
            <a:r>
              <a:rPr lang="en-ID" b="0" dirty="0" err="1"/>
              <a:t>keuangan</a:t>
            </a:r>
            <a:r>
              <a:rPr lang="en-ID" b="0" dirty="0"/>
              <a:t> yang </a:t>
            </a:r>
            <a:r>
              <a:rPr lang="en-ID" b="0" dirty="0" err="1"/>
              <a:t>digunakan</a:t>
            </a:r>
            <a:r>
              <a:rPr lang="en-ID" b="0" dirty="0"/>
              <a:t> </a:t>
            </a:r>
            <a:r>
              <a:rPr lang="en-ID" b="0" dirty="0" err="1"/>
              <a:t>untuk</a:t>
            </a:r>
            <a:r>
              <a:rPr lang="en-ID" b="0" dirty="0"/>
              <a:t> </a:t>
            </a:r>
            <a:r>
              <a:rPr lang="en-ID" b="0" dirty="0" err="1"/>
              <a:t>mengevaluasi</a:t>
            </a:r>
            <a:r>
              <a:rPr lang="en-ID" b="0" dirty="0"/>
              <a:t> </a:t>
            </a:r>
            <a:r>
              <a:rPr lang="en-ID" b="0" dirty="0" err="1"/>
              <a:t>efisiensi</a:t>
            </a:r>
            <a:r>
              <a:rPr lang="en-ID" b="0" dirty="0"/>
              <a:t> </a:t>
            </a:r>
            <a:r>
              <a:rPr lang="en-ID" b="0" dirty="0" err="1"/>
              <a:t>atau</a:t>
            </a:r>
            <a:r>
              <a:rPr lang="en-ID" b="0" dirty="0"/>
              <a:t> </a:t>
            </a:r>
            <a:r>
              <a:rPr lang="en-ID" b="0" dirty="0" err="1"/>
              <a:t>profitabilitas</a:t>
            </a:r>
            <a:r>
              <a:rPr lang="en-ID" b="0" dirty="0"/>
              <a:t> </a:t>
            </a:r>
            <a:r>
              <a:rPr lang="en-ID" b="0" dirty="0" err="1"/>
              <a:t>dari</a:t>
            </a:r>
            <a:r>
              <a:rPr lang="en-ID" b="0" dirty="0"/>
              <a:t> </a:t>
            </a:r>
            <a:r>
              <a:rPr lang="en-ID" b="0" dirty="0" err="1"/>
              <a:t>suatu</a:t>
            </a:r>
            <a:r>
              <a:rPr lang="en-ID" b="0" dirty="0"/>
              <a:t> </a:t>
            </a:r>
            <a:r>
              <a:rPr lang="en-ID" b="0" dirty="0" err="1"/>
              <a:t>investasi</a:t>
            </a:r>
            <a:r>
              <a:rPr lang="en-ID" b="0" dirty="0"/>
              <a:t>. ROI </a:t>
            </a:r>
            <a:r>
              <a:rPr lang="en-ID" b="0" dirty="0" err="1"/>
              <a:t>mengukur</a:t>
            </a:r>
            <a:r>
              <a:rPr lang="en-ID" b="0" dirty="0"/>
              <a:t> </a:t>
            </a:r>
            <a:r>
              <a:rPr lang="en-ID" b="0" dirty="0" err="1"/>
              <a:t>seberapa</a:t>
            </a:r>
            <a:r>
              <a:rPr lang="en-ID" b="0" dirty="0"/>
              <a:t> </a:t>
            </a:r>
            <a:r>
              <a:rPr lang="en-ID" b="0" dirty="0" err="1"/>
              <a:t>banyak</a:t>
            </a:r>
            <a:r>
              <a:rPr lang="en-ID" b="0" dirty="0"/>
              <a:t> </a:t>
            </a:r>
            <a:r>
              <a:rPr lang="en-ID" b="0" dirty="0" err="1"/>
              <a:t>keuntungan</a:t>
            </a:r>
            <a:r>
              <a:rPr lang="en-ID" b="0" dirty="0"/>
              <a:t> </a:t>
            </a:r>
            <a:r>
              <a:rPr lang="en-ID" b="0" dirty="0" err="1"/>
              <a:t>atau</a:t>
            </a:r>
            <a:r>
              <a:rPr lang="en-ID" b="0" dirty="0"/>
              <a:t> </a:t>
            </a:r>
            <a:r>
              <a:rPr lang="en-ID" b="0" dirty="0" err="1"/>
              <a:t>kerugian</a:t>
            </a:r>
            <a:r>
              <a:rPr lang="en-ID" b="0" dirty="0"/>
              <a:t> yang </a:t>
            </a:r>
            <a:r>
              <a:rPr lang="en-ID" b="0" dirty="0" err="1"/>
              <a:t>dihasilkan</a:t>
            </a:r>
            <a:r>
              <a:rPr lang="en-ID" b="0" dirty="0"/>
              <a:t> </a:t>
            </a:r>
            <a:r>
              <a:rPr lang="en-ID" b="0" dirty="0" err="1"/>
              <a:t>dari</a:t>
            </a:r>
            <a:r>
              <a:rPr lang="en-ID" b="0" dirty="0"/>
              <a:t> </a:t>
            </a:r>
            <a:r>
              <a:rPr lang="en-ID" b="0" dirty="0" err="1"/>
              <a:t>suatu</a:t>
            </a:r>
            <a:r>
              <a:rPr lang="en-ID" b="0" dirty="0"/>
              <a:t> </a:t>
            </a:r>
            <a:r>
              <a:rPr lang="en-ID" b="0" dirty="0" err="1"/>
              <a:t>investasi</a:t>
            </a:r>
            <a:r>
              <a:rPr lang="en-ID" b="0" dirty="0"/>
              <a:t> </a:t>
            </a:r>
            <a:r>
              <a:rPr lang="en-ID" b="0" dirty="0" err="1"/>
              <a:t>relatif</a:t>
            </a:r>
            <a:r>
              <a:rPr lang="en-ID" b="0" dirty="0"/>
              <a:t> </a:t>
            </a:r>
            <a:r>
              <a:rPr lang="en-ID" b="0" dirty="0" err="1"/>
              <a:t>terhadap</a:t>
            </a:r>
            <a:r>
              <a:rPr lang="en-ID" b="0" dirty="0"/>
              <a:t> </a:t>
            </a:r>
            <a:r>
              <a:rPr lang="en-ID" b="0" dirty="0" err="1"/>
              <a:t>biaya</a:t>
            </a:r>
            <a:r>
              <a:rPr lang="en-ID" b="0" dirty="0"/>
              <a:t> </a:t>
            </a:r>
            <a:r>
              <a:rPr lang="en-ID" b="0" dirty="0" err="1"/>
              <a:t>awal</a:t>
            </a:r>
            <a:r>
              <a:rPr lang="en-ID" b="0" dirty="0"/>
              <a:t> </a:t>
            </a:r>
            <a:r>
              <a:rPr lang="en-ID" b="0" dirty="0" err="1"/>
              <a:t>investasi</a:t>
            </a:r>
            <a:r>
              <a:rPr lang="en-ID" b="0" dirty="0"/>
              <a:t> </a:t>
            </a:r>
            <a:r>
              <a:rPr lang="en-ID" b="0" dirty="0" err="1"/>
              <a:t>tersebut</a:t>
            </a:r>
            <a:r>
              <a:rPr lang="en-ID" b="0" dirty="0"/>
              <a:t>.</a:t>
            </a:r>
          </a:p>
          <a:p>
            <a:endParaRPr lang="en-ID" b="0" dirty="0"/>
          </a:p>
          <a:p>
            <a:r>
              <a:rPr lang="en-ID" b="0" dirty="0"/>
              <a:t>Tingkat </a:t>
            </a:r>
            <a:r>
              <a:rPr lang="en-ID" b="0" dirty="0" err="1"/>
              <a:t>konversi</a:t>
            </a:r>
            <a:r>
              <a:rPr lang="en-ID" b="0" dirty="0"/>
              <a:t>  (Conversion Rate) </a:t>
            </a:r>
            <a:r>
              <a:rPr lang="en-ID" b="0" dirty="0" err="1"/>
              <a:t>adalah</a:t>
            </a:r>
            <a:r>
              <a:rPr lang="en-ID" b="0" dirty="0"/>
              <a:t> </a:t>
            </a:r>
            <a:r>
              <a:rPr lang="en-ID" b="0" dirty="0" err="1"/>
              <a:t>persentase</a:t>
            </a:r>
            <a:r>
              <a:rPr lang="en-ID" b="0" dirty="0"/>
              <a:t> </a:t>
            </a:r>
            <a:r>
              <a:rPr lang="en-ID" b="0" dirty="0" err="1"/>
              <a:t>dari</a:t>
            </a:r>
            <a:r>
              <a:rPr lang="en-ID" b="0" dirty="0"/>
              <a:t> </a:t>
            </a:r>
            <a:r>
              <a:rPr lang="en-ID" b="0" dirty="0" err="1"/>
              <a:t>jumlah</a:t>
            </a:r>
            <a:r>
              <a:rPr lang="en-ID" b="0" dirty="0"/>
              <a:t> total </a:t>
            </a:r>
            <a:r>
              <a:rPr lang="en-ID" b="0" dirty="0" err="1"/>
              <a:t>pengguna</a:t>
            </a:r>
            <a:r>
              <a:rPr lang="en-ID" b="0" dirty="0"/>
              <a:t> </a:t>
            </a:r>
            <a:r>
              <a:rPr lang="en-ID" b="0" dirty="0" err="1"/>
              <a:t>atau</a:t>
            </a:r>
            <a:r>
              <a:rPr lang="en-ID" b="0" dirty="0"/>
              <a:t> </a:t>
            </a:r>
            <a:r>
              <a:rPr lang="en-ID" b="0" dirty="0" err="1"/>
              <a:t>prospek</a:t>
            </a:r>
            <a:r>
              <a:rPr lang="en-ID" b="0" dirty="0"/>
              <a:t> yang </a:t>
            </a:r>
            <a:r>
              <a:rPr lang="en-ID" b="0" dirty="0" err="1"/>
              <a:t>melakukan</a:t>
            </a:r>
            <a:r>
              <a:rPr lang="en-ID" b="0" dirty="0"/>
              <a:t> </a:t>
            </a:r>
            <a:r>
              <a:rPr lang="en-ID" b="0" dirty="0" err="1"/>
              <a:t>tindakan</a:t>
            </a:r>
            <a:r>
              <a:rPr lang="en-ID" b="0" dirty="0"/>
              <a:t> yang </a:t>
            </a:r>
            <a:r>
              <a:rPr lang="en-ID" b="0" dirty="0" err="1"/>
              <a:t>diinginkan</a:t>
            </a:r>
            <a:r>
              <a:rPr lang="en-ID" b="0" dirty="0"/>
              <a:t> </a:t>
            </a:r>
            <a:r>
              <a:rPr lang="en-ID" b="0" dirty="0" err="1"/>
              <a:t>dari</a:t>
            </a:r>
            <a:r>
              <a:rPr lang="en-ID" b="0" dirty="0"/>
              <a:t> </a:t>
            </a:r>
            <a:r>
              <a:rPr lang="en-ID" b="0" dirty="0" err="1"/>
              <a:t>kampanye</a:t>
            </a:r>
            <a:r>
              <a:rPr lang="en-ID" b="0" dirty="0"/>
              <a:t> </a:t>
            </a:r>
            <a:r>
              <a:rPr lang="en-ID" b="0" dirty="0" err="1"/>
              <a:t>pemasaran</a:t>
            </a:r>
            <a:r>
              <a:rPr lang="en-ID" b="0" dirty="0"/>
              <a:t>, </a:t>
            </a:r>
            <a:r>
              <a:rPr lang="en-ID" b="0" dirty="0" err="1"/>
              <a:t>seperti</a:t>
            </a:r>
            <a:r>
              <a:rPr lang="en-ID" b="0" dirty="0"/>
              <a:t> </a:t>
            </a:r>
            <a:r>
              <a:rPr lang="en-ID" b="0" dirty="0" err="1"/>
              <a:t>melakukan</a:t>
            </a:r>
            <a:r>
              <a:rPr lang="en-ID" b="0" dirty="0"/>
              <a:t> </a:t>
            </a:r>
            <a:r>
              <a:rPr lang="en-ID" b="0" dirty="0" err="1"/>
              <a:t>pembelian</a:t>
            </a:r>
            <a:r>
              <a:rPr lang="en-ID" b="0" dirty="0"/>
              <a:t>, </a:t>
            </a:r>
            <a:r>
              <a:rPr lang="en-ID" b="0" dirty="0" err="1"/>
              <a:t>mendaftar</a:t>
            </a:r>
            <a:r>
              <a:rPr lang="en-ID" b="0" dirty="0"/>
              <a:t> </a:t>
            </a:r>
            <a:r>
              <a:rPr lang="en-ID" b="0" dirty="0" err="1"/>
              <a:t>untuk</a:t>
            </a:r>
            <a:r>
              <a:rPr lang="en-ID" b="0" dirty="0"/>
              <a:t> </a:t>
            </a:r>
            <a:r>
              <a:rPr lang="en-ID" b="0" dirty="0" err="1"/>
              <a:t>layanan</a:t>
            </a:r>
            <a:r>
              <a:rPr lang="en-ID" b="0" dirty="0"/>
              <a:t>, </a:t>
            </a:r>
            <a:r>
              <a:rPr lang="en-ID" b="0" dirty="0" err="1"/>
              <a:t>mengunduh</a:t>
            </a:r>
            <a:r>
              <a:rPr lang="en-ID" b="0" dirty="0"/>
              <a:t> </a:t>
            </a:r>
            <a:r>
              <a:rPr lang="en-ID" b="0" dirty="0" err="1"/>
              <a:t>aplikasi</a:t>
            </a:r>
            <a:r>
              <a:rPr lang="en-ID" b="0" dirty="0"/>
              <a:t>, </a:t>
            </a:r>
            <a:r>
              <a:rPr lang="en-ID" b="0" dirty="0" err="1"/>
              <a:t>atau</a:t>
            </a:r>
            <a:r>
              <a:rPr lang="en-ID" b="0" dirty="0"/>
              <a:t> </a:t>
            </a:r>
            <a:r>
              <a:rPr lang="en-ID" b="0" dirty="0" err="1"/>
              <a:t>tindakan</a:t>
            </a:r>
            <a:r>
              <a:rPr lang="en-ID" b="0" dirty="0"/>
              <a:t> </a:t>
            </a:r>
            <a:r>
              <a:rPr lang="en-ID" b="0" dirty="0" err="1"/>
              <a:t>lainnya</a:t>
            </a:r>
            <a:r>
              <a:rPr lang="en-ID" b="0" dirty="0"/>
              <a:t> yang </a:t>
            </a:r>
            <a:r>
              <a:rPr lang="en-ID" b="0" dirty="0" err="1"/>
              <a:t>menjadi</a:t>
            </a:r>
            <a:r>
              <a:rPr lang="en-ID" b="0" dirty="0"/>
              <a:t> </a:t>
            </a:r>
            <a:r>
              <a:rPr lang="en-ID" b="0" dirty="0" err="1"/>
              <a:t>tujuan</a:t>
            </a:r>
            <a:r>
              <a:rPr lang="en-ID" b="0" dirty="0"/>
              <a:t> </a:t>
            </a:r>
            <a:r>
              <a:rPr lang="en-ID" b="0" dirty="0" err="1"/>
              <a:t>kampanye</a:t>
            </a:r>
            <a:r>
              <a:rPr lang="en-ID" b="0" dirty="0"/>
              <a:t>.</a:t>
            </a:r>
          </a:p>
          <a:p>
            <a:endParaRPr lang="en-ID" b="0" dirty="0"/>
          </a:p>
          <a:p>
            <a:r>
              <a:rPr lang="en-ID" b="0" dirty="0" err="1"/>
              <a:t>Biaya</a:t>
            </a:r>
            <a:r>
              <a:rPr lang="en-ID" b="0" dirty="0"/>
              <a:t> </a:t>
            </a:r>
            <a:r>
              <a:rPr lang="en-ID" b="0" dirty="0" err="1"/>
              <a:t>akuisisi</a:t>
            </a:r>
            <a:r>
              <a:rPr lang="en-ID" b="0" dirty="0"/>
              <a:t> </a:t>
            </a:r>
            <a:r>
              <a:rPr lang="en-ID" b="0" dirty="0" err="1"/>
              <a:t>pelanggan</a:t>
            </a:r>
            <a:r>
              <a:rPr lang="en-ID" b="0" dirty="0"/>
              <a:t> (Customer Acquisition Rate) </a:t>
            </a:r>
            <a:r>
              <a:rPr lang="en-ID" b="0" dirty="0" err="1"/>
              <a:t>adalah</a:t>
            </a:r>
            <a:r>
              <a:rPr lang="en-ID" b="0" dirty="0"/>
              <a:t> </a:t>
            </a:r>
            <a:r>
              <a:rPr lang="en-ID" b="0" dirty="0" err="1"/>
              <a:t>jumlah</a:t>
            </a:r>
            <a:r>
              <a:rPr lang="en-ID" b="0" dirty="0"/>
              <a:t> rata-rata uang yang </a:t>
            </a:r>
            <a:r>
              <a:rPr lang="en-ID" b="0" dirty="0" err="1"/>
              <a:t>dibutuhkan</a:t>
            </a:r>
            <a:r>
              <a:rPr lang="en-ID" b="0" dirty="0"/>
              <a:t> </a:t>
            </a:r>
            <a:r>
              <a:rPr lang="en-ID" b="0" dirty="0" err="1"/>
              <a:t>untuk</a:t>
            </a:r>
            <a:r>
              <a:rPr lang="en-ID" b="0" dirty="0"/>
              <a:t> </a:t>
            </a:r>
            <a:r>
              <a:rPr lang="en-ID" b="0" dirty="0" err="1"/>
              <a:t>memperoleh</a:t>
            </a:r>
            <a:r>
              <a:rPr lang="en-ID" b="0" dirty="0"/>
              <a:t> </a:t>
            </a:r>
            <a:r>
              <a:rPr lang="en-ID" b="0" dirty="0" err="1"/>
              <a:t>seorang</a:t>
            </a:r>
            <a:r>
              <a:rPr lang="en-ID" b="0" dirty="0"/>
              <a:t> </a:t>
            </a:r>
            <a:r>
              <a:rPr lang="en-ID" b="0" dirty="0" err="1"/>
              <a:t>pelanggan</a:t>
            </a:r>
            <a:r>
              <a:rPr lang="en-ID" b="0" dirty="0"/>
              <a:t> </a:t>
            </a:r>
            <a:r>
              <a:rPr lang="en-ID" b="0" dirty="0" err="1"/>
              <a:t>baru</a:t>
            </a:r>
            <a:r>
              <a:rPr lang="en-ID" b="0" dirty="0"/>
              <a:t> </a:t>
            </a:r>
            <a:r>
              <a:rPr lang="en-ID" b="0" dirty="0" err="1"/>
              <a:t>melalui</a:t>
            </a:r>
            <a:r>
              <a:rPr lang="en-ID" b="0" dirty="0"/>
              <a:t> </a:t>
            </a:r>
            <a:r>
              <a:rPr lang="en-ID" b="0" dirty="0" err="1"/>
              <a:t>kampanye</a:t>
            </a:r>
            <a:r>
              <a:rPr lang="en-ID" b="0" dirty="0"/>
              <a:t> </a:t>
            </a:r>
            <a:r>
              <a:rPr lang="en-ID" b="0" dirty="0" err="1"/>
              <a:t>pemasaran</a:t>
            </a:r>
            <a:r>
              <a:rPr lang="en-ID" b="0" dirty="0"/>
              <a:t>. </a:t>
            </a:r>
            <a:r>
              <a:rPr lang="en-ID" b="0" dirty="0" err="1"/>
              <a:t>Ini</a:t>
            </a:r>
            <a:r>
              <a:rPr lang="en-ID" b="0" dirty="0"/>
              <a:t> </a:t>
            </a:r>
            <a:r>
              <a:rPr lang="en-ID" b="0" dirty="0" err="1"/>
              <a:t>termasuk</a:t>
            </a:r>
            <a:r>
              <a:rPr lang="en-ID" b="0" dirty="0"/>
              <a:t> </a:t>
            </a:r>
            <a:r>
              <a:rPr lang="en-ID" b="0" dirty="0" err="1"/>
              <a:t>semua</a:t>
            </a:r>
            <a:r>
              <a:rPr lang="en-ID" b="0" dirty="0"/>
              <a:t> </a:t>
            </a:r>
            <a:r>
              <a:rPr lang="en-ID" b="0" dirty="0" err="1"/>
              <a:t>biaya</a:t>
            </a:r>
            <a:r>
              <a:rPr lang="en-ID" b="0" dirty="0"/>
              <a:t> yang </a:t>
            </a:r>
            <a:r>
              <a:rPr lang="en-ID" b="0" dirty="0" err="1"/>
              <a:t>terkait</a:t>
            </a:r>
            <a:r>
              <a:rPr lang="en-ID" b="0" dirty="0"/>
              <a:t> </a:t>
            </a:r>
            <a:r>
              <a:rPr lang="en-ID" b="0" dirty="0" err="1"/>
              <a:t>dengan</a:t>
            </a:r>
            <a:r>
              <a:rPr lang="en-ID" b="0" dirty="0"/>
              <a:t> </a:t>
            </a:r>
            <a:r>
              <a:rPr lang="en-ID" b="0" dirty="0" err="1"/>
              <a:t>pemasaran</a:t>
            </a:r>
            <a:r>
              <a:rPr lang="en-ID" b="0" dirty="0"/>
              <a:t>, </a:t>
            </a:r>
            <a:r>
              <a:rPr lang="en-ID" b="0" dirty="0" err="1"/>
              <a:t>seperti</a:t>
            </a:r>
            <a:r>
              <a:rPr lang="en-ID" b="0" dirty="0"/>
              <a:t> </a:t>
            </a:r>
            <a:r>
              <a:rPr lang="en-ID" b="0" dirty="0" err="1"/>
              <a:t>iklan</a:t>
            </a:r>
            <a:r>
              <a:rPr lang="en-ID" b="0" dirty="0"/>
              <a:t>, </a:t>
            </a:r>
            <a:r>
              <a:rPr lang="en-ID" b="0" dirty="0" err="1"/>
              <a:t>promosi</a:t>
            </a:r>
            <a:r>
              <a:rPr lang="en-ID" b="0" dirty="0"/>
              <a:t>, </a:t>
            </a:r>
            <a:r>
              <a:rPr lang="en-ID" b="0" dirty="0" err="1"/>
              <a:t>biaya</a:t>
            </a:r>
            <a:r>
              <a:rPr lang="en-ID" b="0" dirty="0"/>
              <a:t> </a:t>
            </a:r>
            <a:r>
              <a:rPr lang="en-ID" b="0" dirty="0" err="1"/>
              <a:t>tenaga</a:t>
            </a:r>
            <a:r>
              <a:rPr lang="en-ID" b="0" dirty="0"/>
              <a:t> </a:t>
            </a:r>
            <a:r>
              <a:rPr lang="en-ID" b="0" dirty="0" err="1"/>
              <a:t>kerja</a:t>
            </a:r>
            <a:r>
              <a:rPr lang="en-ID" b="0" dirty="0"/>
              <a:t>, dan lain-lain, </a:t>
            </a:r>
            <a:r>
              <a:rPr lang="en-ID" b="0" dirty="0" err="1"/>
              <a:t>dibagi</a:t>
            </a:r>
            <a:r>
              <a:rPr lang="en-ID" b="0" dirty="0"/>
              <a:t> </a:t>
            </a:r>
            <a:r>
              <a:rPr lang="en-ID" b="0" dirty="0" err="1"/>
              <a:t>dengan</a:t>
            </a:r>
            <a:r>
              <a:rPr lang="en-ID" b="0" dirty="0"/>
              <a:t> </a:t>
            </a:r>
            <a:r>
              <a:rPr lang="en-ID" b="0" dirty="0" err="1"/>
              <a:t>jumlah</a:t>
            </a:r>
            <a:r>
              <a:rPr lang="en-ID" b="0" dirty="0"/>
              <a:t> </a:t>
            </a:r>
            <a:r>
              <a:rPr lang="en-ID" b="0" dirty="0" err="1"/>
              <a:t>pelanggan</a:t>
            </a:r>
            <a:r>
              <a:rPr lang="en-ID" b="0" dirty="0"/>
              <a:t> </a:t>
            </a:r>
            <a:r>
              <a:rPr lang="en-ID" b="0" dirty="0" err="1"/>
              <a:t>baru</a:t>
            </a:r>
            <a:r>
              <a:rPr lang="en-ID" b="0" dirty="0"/>
              <a:t> yang </a:t>
            </a:r>
            <a:r>
              <a:rPr lang="en-ID" b="0" dirty="0" err="1"/>
              <a:t>diperoleh</a:t>
            </a:r>
            <a:r>
              <a:rPr lang="en-ID" b="0" dirty="0"/>
              <a:t>.</a:t>
            </a:r>
          </a:p>
        </p:txBody>
      </p:sp>
    </p:spTree>
    <p:extLst>
      <p:ext uri="{BB962C8B-B14F-4D97-AF65-F5344CB8AC3E}">
        <p14:creationId xmlns:p14="http://schemas.microsoft.com/office/powerpoint/2010/main" val="2952322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59A45-F7FA-5469-E667-D4131F79ACEE}"/>
              </a:ext>
            </a:extLst>
          </p:cNvPr>
          <p:cNvSpPr>
            <a:spLocks noGrp="1"/>
          </p:cNvSpPr>
          <p:nvPr>
            <p:ph type="title"/>
          </p:nvPr>
        </p:nvSpPr>
        <p:spPr/>
        <p:txBody>
          <a:bodyPr/>
          <a:lstStyle/>
          <a:p>
            <a:r>
              <a:rPr lang="sv-SE" i="0" dirty="0">
                <a:effectLst/>
                <a:highlight>
                  <a:srgbClr val="FFFFFF"/>
                </a:highlight>
              </a:rPr>
              <a:t>Rekomendasi untuk Frekuensi Pembelian pada kanal Web, Catalog , dan Store.</a:t>
            </a:r>
            <a:endParaRPr lang="en-ID" dirty="0"/>
          </a:p>
        </p:txBody>
      </p:sp>
      <p:sp>
        <p:nvSpPr>
          <p:cNvPr id="3" name="Text Placeholder 2">
            <a:extLst>
              <a:ext uri="{FF2B5EF4-FFF2-40B4-BE49-F238E27FC236}">
                <a16:creationId xmlns:a16="http://schemas.microsoft.com/office/drawing/2014/main" id="{32E3D05D-383B-F003-32A4-45E2746B99D9}"/>
              </a:ext>
            </a:extLst>
          </p:cNvPr>
          <p:cNvSpPr>
            <a:spLocks noGrp="1"/>
          </p:cNvSpPr>
          <p:nvPr>
            <p:ph type="body" sz="quarter" idx="10"/>
          </p:nvPr>
        </p:nvSpPr>
        <p:spPr>
          <a:xfrm>
            <a:off x="844060" y="2263140"/>
            <a:ext cx="16611131" cy="7452360"/>
          </a:xfrm>
        </p:spPr>
        <p:txBody>
          <a:bodyPr/>
          <a:lstStyle/>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rata-rata 6-8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 per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personal, </a:t>
            </a:r>
            <a:r>
              <a:rPr lang="en-ID" sz="2800" b="0" i="0" dirty="0" err="1">
                <a:solidFill>
                  <a:srgbClr val="212121"/>
                </a:solidFill>
                <a:effectLst/>
                <a:highlight>
                  <a:srgbClr val="FFFFFF"/>
                </a:highlight>
                <a:latin typeface="+mj-lt"/>
              </a:rPr>
              <a:t>sepert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husu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eksklusif</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utam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sud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bia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nal</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rata-rata 7-10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 per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program </a:t>
            </a:r>
            <a:r>
              <a:rPr lang="en-ID" sz="2800" b="0" i="0" dirty="0" err="1">
                <a:solidFill>
                  <a:srgbClr val="212121"/>
                </a:solidFill>
                <a:effectLst/>
                <a:highlight>
                  <a:srgbClr val="FFFFFF"/>
                </a:highlight>
                <a:latin typeface="+mj-lt"/>
              </a:rPr>
              <a:t>loyalita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ngalam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di toko, </a:t>
            </a:r>
            <a:r>
              <a:rPr lang="en-ID" sz="2800" b="0" i="0" dirty="0" err="1">
                <a:solidFill>
                  <a:srgbClr val="212121"/>
                </a:solidFill>
                <a:effectLst/>
                <a:highlight>
                  <a:srgbClr val="FFFFFF"/>
                </a:highlight>
                <a:latin typeface="+mj-lt"/>
              </a:rPr>
              <a:t>mendoro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ta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e</a:t>
            </a:r>
            <a:r>
              <a:rPr lang="en-ID" sz="2800" b="0" i="0" dirty="0">
                <a:solidFill>
                  <a:srgbClr val="212121"/>
                </a:solidFill>
                <a:effectLst/>
                <a:highlight>
                  <a:srgbClr val="FFFFFF"/>
                </a:highlight>
                <a:latin typeface="+mj-lt"/>
              </a:rPr>
              <a:t> toko </a:t>
            </a:r>
            <a:r>
              <a:rPr lang="en-ID" sz="2800" b="0" i="0" dirty="0" err="1">
                <a:solidFill>
                  <a:srgbClr val="212121"/>
                </a:solidFill>
                <a:effectLst/>
                <a:highlight>
                  <a:srgbClr val="FFFFFF"/>
                </a:highlight>
                <a:latin typeface="+mj-lt"/>
              </a:rPr>
              <a:t>adalah</a:t>
            </a:r>
            <a:r>
              <a:rPr lang="en-ID" sz="2800" b="0" i="0" dirty="0">
                <a:solidFill>
                  <a:srgbClr val="212121"/>
                </a:solidFill>
                <a:effectLst/>
                <a:highlight>
                  <a:srgbClr val="FFFFFF"/>
                </a:highlight>
                <a:latin typeface="+mj-lt"/>
              </a:rPr>
              <a:t> target yang </a:t>
            </a:r>
            <a:r>
              <a:rPr lang="en-ID" sz="2800" b="0" i="0" dirty="0" err="1">
                <a:solidFill>
                  <a:srgbClr val="212121"/>
                </a:solidFill>
                <a:effectLst/>
                <a:highlight>
                  <a:srgbClr val="FFFFFF"/>
                </a:highlight>
                <a:latin typeface="+mj-lt"/>
              </a:rPr>
              <a:t>realistis</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sediki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5-7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Karena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di Web </a:t>
            </a:r>
            <a:r>
              <a:rPr lang="en-ID" sz="2800" b="0" i="0" dirty="0" err="1">
                <a:solidFill>
                  <a:srgbClr val="212121"/>
                </a:solidFill>
                <a:effectLst/>
                <a:highlight>
                  <a:srgbClr val="FFFFFF"/>
                </a:highlight>
                <a:latin typeface="+mj-lt"/>
              </a:rPr>
              <a:t>sud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rat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oku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arahkan</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tabilit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mosi</a:t>
            </a:r>
            <a:r>
              <a:rPr lang="en-ID" sz="2800" b="0" i="0" dirty="0">
                <a:solidFill>
                  <a:srgbClr val="212121"/>
                </a:solidFill>
                <a:effectLst/>
                <a:highlight>
                  <a:srgbClr val="FFFFFF"/>
                </a:highlight>
                <a:latin typeface="+mj-lt"/>
              </a:rPr>
              <a:t> online yang </a:t>
            </a:r>
            <a:r>
              <a:rPr lang="en-ID" sz="2800" b="0" i="0" dirty="0" err="1">
                <a:solidFill>
                  <a:srgbClr val="212121"/>
                </a:solidFill>
                <a:effectLst/>
                <a:highlight>
                  <a:srgbClr val="FFFFFF"/>
                </a:highlight>
                <a:latin typeface="+mj-lt"/>
              </a:rPr>
              <a:t>efektif</a:t>
            </a:r>
            <a:r>
              <a:rPr lang="en-ID" sz="2800" b="0" i="0" dirty="0">
                <a:solidFill>
                  <a:srgbClr val="212121"/>
                </a:solidFill>
                <a:effectLst/>
                <a:highlight>
                  <a:srgbClr val="FFFFFF"/>
                </a:highlight>
                <a:latin typeface="+mj-lt"/>
              </a:rPr>
              <a:t>.</a:t>
            </a:r>
          </a:p>
          <a:p>
            <a:endParaRPr lang="en-ID" dirty="0"/>
          </a:p>
        </p:txBody>
      </p:sp>
    </p:spTree>
    <p:extLst>
      <p:ext uri="{BB962C8B-B14F-4D97-AF65-F5344CB8AC3E}">
        <p14:creationId xmlns:p14="http://schemas.microsoft.com/office/powerpoint/2010/main" val="1909736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76096-F607-FC06-9112-5D5B93310B8C}"/>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ID" i="0" dirty="0">
                <a:effectLst/>
                <a:highlight>
                  <a:srgbClr val="FFFFFF"/>
                </a:highlight>
              </a:rPr>
              <a:t>Rata-rata </a:t>
            </a:r>
            <a:r>
              <a:rPr lang="en-ID" i="0" dirty="0" err="1">
                <a:effectLst/>
                <a:highlight>
                  <a:srgbClr val="FFFFFF"/>
                </a:highlight>
              </a:rPr>
              <a:t>Pengeluaran</a:t>
            </a:r>
            <a:r>
              <a:rPr lang="en-ID" i="0" dirty="0">
                <a:effectLst/>
                <a:highlight>
                  <a:srgbClr val="FFFFFF"/>
                </a:highlight>
              </a:rPr>
              <a:t> per </a:t>
            </a:r>
            <a:r>
              <a:rPr lang="en-ID" i="0" dirty="0" err="1">
                <a:effectLst/>
                <a:highlight>
                  <a:srgbClr val="FFFFFF"/>
                </a:highlight>
              </a:rPr>
              <a:t>Pembelian</a:t>
            </a:r>
            <a:r>
              <a:rPr lang="en-ID" i="0" dirty="0">
                <a:effectLst/>
                <a:highlight>
                  <a:srgbClr val="FFFFFF"/>
                </a:highlight>
              </a:rPr>
              <a:t>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D7BAA562-3108-DFA8-6186-D534C41A088E}"/>
              </a:ext>
            </a:extLst>
          </p:cNvPr>
          <p:cNvSpPr>
            <a:spLocks noGrp="1"/>
          </p:cNvSpPr>
          <p:nvPr>
            <p:ph type="body" sz="quarter" idx="10"/>
          </p:nvPr>
        </p:nvSpPr>
        <p:spPr/>
        <p:txBody>
          <a:bodyPr/>
          <a:lstStyle/>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1.20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okus</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produk</a:t>
            </a:r>
            <a:r>
              <a:rPr lang="en-ID" sz="2800" b="0" i="0" dirty="0">
                <a:solidFill>
                  <a:srgbClr val="212121"/>
                </a:solidFill>
                <a:effectLst/>
                <a:highlight>
                  <a:srgbClr val="FFFFFF"/>
                </a:highlight>
                <a:latin typeface="+mj-lt"/>
              </a:rPr>
              <a:t> premium dan bundling yang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kali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orientasi</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kualita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nil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ingg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90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galam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isik</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ba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tamb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cross-selling dan upselling yang </a:t>
            </a:r>
            <a:r>
              <a:rPr lang="en-ID" sz="2800" b="0" i="0" dirty="0" err="1">
                <a:solidFill>
                  <a:srgbClr val="212121"/>
                </a:solidFill>
                <a:effectLst/>
                <a:highlight>
                  <a:srgbClr val="FFFFFF"/>
                </a:highlight>
                <a:latin typeface="+mj-lt"/>
              </a:rPr>
              <a:t>efektif</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pa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doro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anyak</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85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lalu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rsonalis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rekomend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duk</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cerd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lama</a:t>
            </a:r>
            <a:r>
              <a:rPr lang="en-ID" sz="2800" b="0" i="0" dirty="0">
                <a:solidFill>
                  <a:srgbClr val="212121"/>
                </a:solidFill>
                <a:effectLst/>
                <a:highlight>
                  <a:srgbClr val="FFFFFF"/>
                </a:highlight>
                <a:latin typeface="+mj-lt"/>
              </a:rPr>
              <a:t> proses checkout.</a:t>
            </a:r>
          </a:p>
          <a:p>
            <a:endParaRPr lang="en-ID" dirty="0"/>
          </a:p>
        </p:txBody>
      </p:sp>
    </p:spTree>
    <p:extLst>
      <p:ext uri="{BB962C8B-B14F-4D97-AF65-F5344CB8AC3E}">
        <p14:creationId xmlns:p14="http://schemas.microsoft.com/office/powerpoint/2010/main" val="748750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cxnSp>
        <p:nvCxnSpPr>
          <p:cNvPr id="188" name="Google Shape;188;p20"/>
          <p:cNvCxnSpPr/>
          <p:nvPr/>
        </p:nvCxnSpPr>
        <p:spPr>
          <a:xfrm rot="10800000">
            <a:off x="75" y="6126175"/>
            <a:ext cx="18315300" cy="0"/>
          </a:xfrm>
          <a:prstGeom prst="straightConnector1">
            <a:avLst/>
          </a:prstGeom>
          <a:noFill/>
          <a:ln w="28575" cap="flat" cmpd="sng">
            <a:solidFill>
              <a:srgbClr val="000000"/>
            </a:solidFill>
            <a:prstDash val="solid"/>
            <a:round/>
            <a:headEnd type="none" w="sm" len="sm"/>
            <a:tailEnd type="none" w="sm" len="sm"/>
          </a:ln>
        </p:spPr>
      </p:cxnSp>
      <p:cxnSp>
        <p:nvCxnSpPr>
          <p:cNvPr id="189" name="Google Shape;189;p20"/>
          <p:cNvCxnSpPr/>
          <p:nvPr/>
        </p:nvCxnSpPr>
        <p:spPr>
          <a:xfrm rot="10800000">
            <a:off x="10942752" y="-78000"/>
            <a:ext cx="0" cy="10365000"/>
          </a:xfrm>
          <a:prstGeom prst="straightConnector1">
            <a:avLst/>
          </a:prstGeom>
          <a:noFill/>
          <a:ln w="28575" cap="flat" cmpd="sng">
            <a:solidFill>
              <a:srgbClr val="000000"/>
            </a:solidFill>
            <a:prstDash val="solid"/>
            <a:round/>
            <a:headEnd type="none" w="sm" len="sm"/>
            <a:tailEnd type="none" w="sm" len="sm"/>
          </a:ln>
        </p:spPr>
      </p:cxnSp>
      <p:grpSp>
        <p:nvGrpSpPr>
          <p:cNvPr id="190" name="Google Shape;190;p20"/>
          <p:cNvGrpSpPr/>
          <p:nvPr/>
        </p:nvGrpSpPr>
        <p:grpSpPr>
          <a:xfrm>
            <a:off x="-1" y="6079370"/>
            <a:ext cx="10928465" cy="4160818"/>
            <a:chOff x="0" y="0"/>
            <a:chExt cx="2878279" cy="1095853"/>
          </a:xfrm>
        </p:grpSpPr>
        <p:sp>
          <p:nvSpPr>
            <p:cNvPr id="191" name="Google Shape;191;p20"/>
            <p:cNvSpPr/>
            <p:nvPr/>
          </p:nvSpPr>
          <p:spPr>
            <a:xfrm>
              <a:off x="0" y="0"/>
              <a:ext cx="2878279" cy="1095853"/>
            </a:xfrm>
            <a:custGeom>
              <a:avLst/>
              <a:gdLst/>
              <a:ahLst/>
              <a:cxnLst/>
              <a:rect l="l" t="t" r="r" b="b"/>
              <a:pathLst>
                <a:path w="2878279" h="1095853" extrusionOk="0">
                  <a:moveTo>
                    <a:pt x="0" y="0"/>
                  </a:moveTo>
                  <a:lnTo>
                    <a:pt x="2878279" y="0"/>
                  </a:lnTo>
                  <a:lnTo>
                    <a:pt x="2878279" y="1095853"/>
                  </a:lnTo>
                  <a:lnTo>
                    <a:pt x="0" y="1095853"/>
                  </a:lnTo>
                  <a:close/>
                </a:path>
              </a:pathLst>
            </a:custGeom>
            <a:solidFill>
              <a:srgbClr val="F8F9FB"/>
            </a:solidFill>
            <a:ln>
              <a:noFill/>
            </a:ln>
          </p:spPr>
        </p:sp>
        <p:sp>
          <p:nvSpPr>
            <p:cNvPr id="192" name="Google Shape;192;p20"/>
            <p:cNvSpPr txBox="1"/>
            <p:nvPr/>
          </p:nvSpPr>
          <p:spPr>
            <a:xfrm>
              <a:off x="0" y="38100"/>
              <a:ext cx="2878279" cy="1057753"/>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193" name="Google Shape;193;p20"/>
          <p:cNvSpPr txBox="1"/>
          <p:nvPr/>
        </p:nvSpPr>
        <p:spPr>
          <a:xfrm>
            <a:off x="797481" y="8698230"/>
            <a:ext cx="6344875" cy="694806"/>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500" b="0" i="0" u="none" strike="noStrike" cap="none" dirty="0">
                <a:solidFill>
                  <a:srgbClr val="000000"/>
                </a:solidFill>
                <a:latin typeface="Open Sans"/>
                <a:ea typeface="Open Sans"/>
                <a:cs typeface="Open Sans"/>
                <a:sym typeface="Open Sans"/>
              </a:rPr>
              <a:t>Of Supermarket Customer</a:t>
            </a:r>
            <a:endParaRPr dirty="0"/>
          </a:p>
        </p:txBody>
      </p:sp>
      <p:sp>
        <p:nvSpPr>
          <p:cNvPr id="194" name="Google Shape;194;p20"/>
          <p:cNvSpPr txBox="1"/>
          <p:nvPr/>
        </p:nvSpPr>
        <p:spPr>
          <a:xfrm>
            <a:off x="647581" y="6481247"/>
            <a:ext cx="9633300" cy="1959767"/>
          </a:xfrm>
          <a:prstGeom prst="rect">
            <a:avLst/>
          </a:prstGeom>
          <a:noFill/>
          <a:ln>
            <a:noFill/>
          </a:ln>
        </p:spPr>
        <p:txBody>
          <a:bodyPr spcFirstLastPara="1" wrap="square" lIns="0" tIns="0" rIns="0" bIns="0" anchor="t" anchorCtr="0">
            <a:spAutoFit/>
          </a:bodyPr>
          <a:lstStyle/>
          <a:p>
            <a:pPr marL="0" marR="0" lvl="0" indent="0" algn="l" rtl="0">
              <a:lnSpc>
                <a:spcPct val="129001"/>
              </a:lnSpc>
              <a:spcBef>
                <a:spcPts val="0"/>
              </a:spcBef>
              <a:spcAft>
                <a:spcPts val="0"/>
              </a:spcAft>
              <a:buNone/>
            </a:pPr>
            <a:r>
              <a:rPr lang="en-US" sz="9872" i="0" u="none" strike="noStrike" cap="none" dirty="0">
                <a:solidFill>
                  <a:srgbClr val="00B050"/>
                </a:solidFill>
                <a:latin typeface="Old Standard TT"/>
                <a:ea typeface="Old Standard TT"/>
                <a:cs typeface="Old Standard TT"/>
                <a:sym typeface="Old Standard TT"/>
              </a:rPr>
              <a:t>Background</a:t>
            </a:r>
            <a:endParaRPr dirty="0">
              <a:solidFill>
                <a:srgbClr val="00B050"/>
              </a:solidFill>
              <a:latin typeface="Old Standard TT"/>
              <a:ea typeface="Old Standard TT"/>
              <a:cs typeface="Old Standard TT"/>
              <a:sym typeface="Old Standard TT"/>
            </a:endParaRPr>
          </a:p>
        </p:txBody>
      </p:sp>
      <p:sp>
        <p:nvSpPr>
          <p:cNvPr id="195" name="Google Shape;195;p20"/>
          <p:cNvSpPr txBox="1"/>
          <p:nvPr/>
        </p:nvSpPr>
        <p:spPr>
          <a:xfrm>
            <a:off x="391598" y="585603"/>
            <a:ext cx="9995415" cy="5240537"/>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2400" b="0" i="0" u="none" strike="noStrike" cap="none" dirty="0" err="1">
                <a:solidFill>
                  <a:schemeClr val="tx1"/>
                </a:solidFill>
                <a:latin typeface="Open Sans"/>
                <a:ea typeface="Open Sans"/>
                <a:cs typeface="Open Sans"/>
                <a:sym typeface="Open Sans"/>
              </a:rPr>
              <a:t>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industr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ritel</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mahaman</a:t>
            </a:r>
            <a:r>
              <a:rPr lang="en-US" sz="2400" b="0" i="0" u="none" strike="noStrike" cap="none" dirty="0">
                <a:solidFill>
                  <a:schemeClr val="tx1"/>
                </a:solidFill>
                <a:latin typeface="Open Sans"/>
                <a:ea typeface="Open Sans"/>
                <a:cs typeface="Open Sans"/>
                <a:sym typeface="Open Sans"/>
              </a:rPr>
              <a:t> yang </a:t>
            </a:r>
            <a:r>
              <a:rPr lang="en-US" sz="2400" b="0" i="0" u="none" strike="noStrike" cap="none" dirty="0" err="1">
                <a:solidFill>
                  <a:schemeClr val="tx1"/>
                </a:solidFill>
                <a:latin typeface="Open Sans"/>
                <a:ea typeface="Open Sans"/>
                <a:cs typeface="Open Sans"/>
                <a:sym typeface="Open Sans"/>
              </a:rPr>
              <a:t>men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nta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adalah</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unc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eberhasil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untuk</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ingkatk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njualan</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mempertahank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loyalita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Supermarket yang </a:t>
            </a:r>
            <a:r>
              <a:rPr lang="en-US" sz="2400" b="0" i="0" u="none" strike="noStrike" cap="none" dirty="0" err="1">
                <a:solidFill>
                  <a:schemeClr val="tx1"/>
                </a:solidFill>
                <a:latin typeface="Open Sans"/>
                <a:ea typeface="Open Sans"/>
                <a:cs typeface="Open Sans"/>
                <a:sym typeface="Open Sans"/>
              </a:rPr>
              <a:t>beroper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lingkungan</a:t>
            </a:r>
            <a:r>
              <a:rPr lang="en-US" sz="2400" b="0" i="0" u="none" strike="noStrike" cap="none" dirty="0">
                <a:solidFill>
                  <a:schemeClr val="tx1"/>
                </a:solidFill>
                <a:latin typeface="Open Sans"/>
                <a:ea typeface="Open Sans"/>
                <a:cs typeface="Open Sans"/>
                <a:sym typeface="Open Sans"/>
              </a:rPr>
              <a:t> yang sangat </a:t>
            </a:r>
            <a:r>
              <a:rPr lang="en-US" sz="2400" b="0" i="0" u="none" strike="noStrike" cap="none" dirty="0" err="1">
                <a:solidFill>
                  <a:schemeClr val="tx1"/>
                </a:solidFill>
                <a:latin typeface="Open Sans"/>
                <a:ea typeface="Open Sans"/>
                <a:cs typeface="Open Sans"/>
                <a:sym typeface="Open Sans"/>
              </a:rPr>
              <a:t>kompetitif</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haru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apat</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enal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ol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belanj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rek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identifik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segmen</a:t>
            </a:r>
            <a:r>
              <a:rPr lang="en-US" sz="2400" b="0" i="0" u="none" strike="noStrike" cap="none" dirty="0">
                <a:solidFill>
                  <a:schemeClr val="tx1"/>
                </a:solidFill>
                <a:latin typeface="Open Sans"/>
                <a:ea typeface="Open Sans"/>
                <a:cs typeface="Open Sans"/>
                <a:sym typeface="Open Sans"/>
              </a:rPr>
              <a:t> pasar yang </a:t>
            </a:r>
            <a:r>
              <a:rPr lang="en-US" sz="2400" b="0" i="0" u="none" strike="noStrike" cap="none" dirty="0" err="1">
                <a:solidFill>
                  <a:schemeClr val="tx1"/>
                </a:solidFill>
                <a:latin typeface="Open Sans"/>
                <a:ea typeface="Open Sans"/>
                <a:cs typeface="Open Sans"/>
                <a:sym typeface="Open Sans"/>
              </a:rPr>
              <a:t>berbeda</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merespon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ebutuhan</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preferen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en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pat</a:t>
            </a:r>
            <a:r>
              <a:rPr lang="en-US" sz="2400" b="0" i="0" u="none" strike="noStrike" cap="none" dirty="0">
                <a:solidFill>
                  <a:schemeClr val="tx1"/>
                </a:solidFill>
                <a:latin typeface="Open Sans"/>
                <a:ea typeface="Open Sans"/>
                <a:cs typeface="Open Sans"/>
                <a:sym typeface="Open Sans"/>
              </a:rPr>
              <a:t>.</a:t>
            </a:r>
          </a:p>
          <a:p>
            <a:pPr marL="0" marR="0" lvl="0" indent="0" algn="l" rtl="0">
              <a:lnSpc>
                <a:spcPct val="129000"/>
              </a:lnSpc>
              <a:spcBef>
                <a:spcPts val="0"/>
              </a:spcBef>
              <a:spcAft>
                <a:spcPts val="0"/>
              </a:spcAft>
              <a:buNone/>
            </a:pPr>
            <a:endParaRPr lang="en-US" sz="2400" b="0" i="0" u="none" strike="noStrike" cap="none" dirty="0">
              <a:solidFill>
                <a:schemeClr val="tx1"/>
              </a:solidFill>
              <a:latin typeface="Open Sans"/>
              <a:ea typeface="Open Sans"/>
              <a:cs typeface="Open Sans"/>
              <a:sym typeface="Open Sans"/>
            </a:endParaRPr>
          </a:p>
          <a:p>
            <a:pPr marL="0" marR="0" lvl="0" indent="0" algn="l" rtl="0">
              <a:lnSpc>
                <a:spcPct val="129000"/>
              </a:lnSpc>
              <a:spcBef>
                <a:spcPts val="0"/>
              </a:spcBef>
              <a:spcAft>
                <a:spcPts val="0"/>
              </a:spcAft>
              <a:buNone/>
            </a:pPr>
            <a:r>
              <a:rPr lang="en-US" sz="2400" b="0" i="0" u="none" strike="noStrike" cap="none" dirty="0">
                <a:solidFill>
                  <a:schemeClr val="tx1"/>
                </a:solidFill>
                <a:latin typeface="Open Sans"/>
                <a:ea typeface="Open Sans"/>
                <a:cs typeface="Open Sans"/>
                <a:sym typeface="Open Sans"/>
              </a:rPr>
              <a:t>Dataset "Supermarket Customer" </a:t>
            </a:r>
            <a:r>
              <a:rPr lang="en-US" sz="2400" b="0" i="0" u="none" strike="noStrike" cap="none" dirty="0" err="1">
                <a:solidFill>
                  <a:schemeClr val="tx1"/>
                </a:solidFill>
                <a:latin typeface="Open Sans"/>
                <a:ea typeface="Open Sans"/>
                <a:cs typeface="Open Sans"/>
                <a:sym typeface="Open Sans"/>
              </a:rPr>
              <a:t>mengandu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inform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nti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ena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emograf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rilaku</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mbeli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respon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rhadap</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ampanye</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romosi</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preferen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roduk</a:t>
            </a:r>
            <a:r>
              <a:rPr lang="en-US" sz="2400" b="0" i="0" u="none" strike="noStrike" cap="none" dirty="0">
                <a:solidFill>
                  <a:schemeClr val="tx1"/>
                </a:solidFill>
                <a:latin typeface="Open Sans"/>
                <a:ea typeface="Open Sans"/>
                <a:cs typeface="Open Sans"/>
                <a:sym typeface="Open Sans"/>
              </a:rPr>
              <a:t>.</a:t>
            </a:r>
            <a:endParaRPr lang="en-US" sz="2400" dirty="0">
              <a:solidFill>
                <a:schemeClr val="tx1"/>
              </a:solidFill>
            </a:endParaRPr>
          </a:p>
        </p:txBody>
      </p:sp>
      <p:sp>
        <p:nvSpPr>
          <p:cNvPr id="2" name="Slide Number Placeholder 1">
            <a:extLst>
              <a:ext uri="{FF2B5EF4-FFF2-40B4-BE49-F238E27FC236}">
                <a16:creationId xmlns:a16="http://schemas.microsoft.com/office/drawing/2014/main" id="{410A0A4A-6DCA-698E-38E6-4AC24C219686}"/>
              </a:ext>
            </a:extLst>
          </p:cNvPr>
          <p:cNvSpPr>
            <a:spLocks noGrp="1"/>
          </p:cNvSpPr>
          <p:nvPr>
            <p:ph type="sldNum" idx="12"/>
          </p:nvPr>
        </p:nvSpPr>
        <p:spPr>
          <a:xfrm>
            <a:off x="8436453" y="9875088"/>
            <a:ext cx="2133600" cy="365100"/>
          </a:xfrm>
        </p:spPr>
        <p:txBody>
          <a:bodyPr/>
          <a:lstStyle/>
          <a:p>
            <a:pPr marL="0" lvl="0" indent="0" algn="r" rtl="0">
              <a:spcBef>
                <a:spcPts val="0"/>
              </a:spcBef>
              <a:spcAft>
                <a:spcPts val="0"/>
              </a:spcAft>
              <a:buNone/>
            </a:pPr>
            <a:fld id="{00000000-1234-1234-1234-123412341234}" type="slidenum">
              <a:rPr lang="en-US" smtClean="0"/>
              <a:t>2</a:t>
            </a:fld>
            <a:endParaRPr lang="en-US" dirty="0"/>
          </a:p>
        </p:txBody>
      </p:sp>
      <p:pic>
        <p:nvPicPr>
          <p:cNvPr id="4" name="Picture 3">
            <a:extLst>
              <a:ext uri="{FF2B5EF4-FFF2-40B4-BE49-F238E27FC236}">
                <a16:creationId xmlns:a16="http://schemas.microsoft.com/office/drawing/2014/main" id="{5FF231D6-06C8-0885-0A24-FB6E9C515920}"/>
              </a:ext>
            </a:extLst>
          </p:cNvPr>
          <p:cNvPicPr>
            <a:picLocks noChangeAspect="1"/>
          </p:cNvPicPr>
          <p:nvPr/>
        </p:nvPicPr>
        <p:blipFill>
          <a:blip r:embed="rId3"/>
          <a:stretch>
            <a:fillRect/>
          </a:stretch>
        </p:blipFill>
        <p:spPr>
          <a:xfrm>
            <a:off x="10570053" y="0"/>
            <a:ext cx="7717872" cy="102870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CEBD0-A293-E257-44F6-568D38705B99}"/>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US" dirty="0" err="1"/>
              <a:t>mengurangi</a:t>
            </a:r>
            <a:r>
              <a:rPr lang="en-US" dirty="0"/>
              <a:t> </a:t>
            </a:r>
            <a:r>
              <a:rPr lang="en-ID" i="0" dirty="0">
                <a:effectLst/>
                <a:highlight>
                  <a:srgbClr val="FFFFFF"/>
                </a:highlight>
              </a:rPr>
              <a:t>Complaints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8249B871-D2C8-0CDF-F481-09434F160D40}"/>
              </a:ext>
            </a:extLst>
          </p:cNvPr>
          <p:cNvSpPr>
            <a:spLocks noGrp="1"/>
          </p:cNvSpPr>
          <p:nvPr>
            <p:ph type="body" sz="quarter" idx="10"/>
          </p:nvPr>
        </p:nvSpPr>
        <p:spPr>
          <a:xfrm>
            <a:off x="844060" y="2263140"/>
            <a:ext cx="16611131" cy="7395210"/>
          </a:xfrm>
        </p:spPr>
        <p:txBody>
          <a:bodyPr>
            <a:normAutofit/>
          </a:bodyPr>
          <a:lstStyle/>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gurangi</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sehingga</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r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tida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lakukan</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capai</a:t>
            </a:r>
            <a:r>
              <a:rPr lang="en-ID" sz="2800" b="0" i="0" dirty="0">
                <a:solidFill>
                  <a:srgbClr val="212121"/>
                </a:solidFill>
                <a:effectLst/>
                <a:highlight>
                  <a:srgbClr val="FFFFFF"/>
                </a:highlight>
                <a:latin typeface="+mj-lt"/>
              </a:rPr>
              <a:t> 2851,2.</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ayan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online, </a:t>
            </a:r>
            <a:r>
              <a:rPr lang="en-ID" sz="2800" b="0" i="0" dirty="0" err="1">
                <a:solidFill>
                  <a:srgbClr val="212121"/>
                </a:solidFill>
                <a:effectLst/>
                <a:highlight>
                  <a:srgbClr val="FFFFFF"/>
                </a:highlight>
                <a:latin typeface="+mj-lt"/>
              </a:rPr>
              <a:t>mengurangi</a:t>
            </a:r>
            <a:r>
              <a:rPr lang="en-ID" sz="2800" b="0" i="0" dirty="0">
                <a:solidFill>
                  <a:srgbClr val="212121"/>
                </a:solidFill>
                <a:effectLst/>
                <a:highlight>
                  <a:srgbClr val="FFFFFF"/>
                </a:highlight>
                <a:latin typeface="+mj-lt"/>
              </a:rPr>
              <a:t> complain dan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epu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adalah</a:t>
            </a:r>
            <a:r>
              <a:rPr lang="en-ID" sz="2800" b="0" i="0" dirty="0">
                <a:solidFill>
                  <a:srgbClr val="212121"/>
                </a:solidFill>
                <a:effectLst/>
                <a:highlight>
                  <a:srgbClr val="FFFFFF"/>
                </a:highlight>
                <a:latin typeface="+mj-lt"/>
              </a:rPr>
              <a:t> target yang </a:t>
            </a:r>
            <a:r>
              <a:rPr lang="en-ID" sz="2800" b="0" i="0" dirty="0" err="1">
                <a:solidFill>
                  <a:srgbClr val="212121"/>
                </a:solidFill>
                <a:effectLst/>
                <a:highlight>
                  <a:srgbClr val="FFFFFF"/>
                </a:highlight>
                <a:latin typeface="+mj-lt"/>
              </a:rPr>
              <a:t>realistis</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gurangi</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sehingga</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r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tida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lakukan</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capai</a:t>
            </a:r>
            <a:r>
              <a:rPr lang="en-ID" sz="2800" b="0" i="0" dirty="0">
                <a:solidFill>
                  <a:srgbClr val="212121"/>
                </a:solidFill>
                <a:effectLst/>
                <a:highlight>
                  <a:srgbClr val="FFFFFF"/>
                </a:highlight>
                <a:latin typeface="+mj-lt"/>
              </a:rPr>
              <a:t> 1844,4.</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girim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tepa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waktu</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rod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kualitas</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kurangi</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kepu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a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gurangi</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sehingga</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r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tida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lakukan</a:t>
            </a:r>
            <a:r>
              <a:rPr lang="en-ID" sz="2800" b="0" i="0" dirty="0">
                <a:solidFill>
                  <a:srgbClr val="212121"/>
                </a:solidFill>
                <a:effectLst/>
                <a:highlight>
                  <a:srgbClr val="FFFFFF"/>
                </a:highlight>
                <a:latin typeface="+mj-lt"/>
              </a:rPr>
              <a:t> complain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capai</a:t>
            </a:r>
            <a:r>
              <a:rPr lang="en-ID" sz="2800" b="0" i="0" dirty="0">
                <a:solidFill>
                  <a:srgbClr val="212121"/>
                </a:solidFill>
                <a:effectLst/>
                <a:highlight>
                  <a:srgbClr val="FFFFFF"/>
                </a:highlight>
                <a:latin typeface="+mj-lt"/>
              </a:rPr>
              <a:t> 1844,4.</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nganan</a:t>
            </a:r>
            <a:r>
              <a:rPr lang="en-ID" sz="2800" b="0" i="0" dirty="0">
                <a:solidFill>
                  <a:srgbClr val="212121"/>
                </a:solidFill>
                <a:effectLst/>
                <a:highlight>
                  <a:srgbClr val="FFFFFF"/>
                </a:highlight>
                <a:latin typeface="+mj-lt"/>
              </a:rPr>
              <a:t> complain yang </a:t>
            </a:r>
            <a:r>
              <a:rPr lang="en-ID" sz="2800" b="0" i="0" dirty="0" err="1">
                <a:solidFill>
                  <a:srgbClr val="212121"/>
                </a:solidFill>
                <a:effectLst/>
                <a:highlight>
                  <a:srgbClr val="FFFFFF"/>
                </a:highlight>
                <a:latin typeface="+mj-lt"/>
              </a:rPr>
              <a:t>cepat</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efisien</a:t>
            </a:r>
            <a:r>
              <a:rPr lang="en-ID" sz="2800" b="0" i="0" dirty="0">
                <a:solidFill>
                  <a:srgbClr val="212121"/>
                </a:solidFill>
                <a:effectLst/>
                <a:highlight>
                  <a:srgbClr val="FFFFFF"/>
                </a:highlight>
                <a:latin typeface="+mj-lt"/>
              </a:rPr>
              <a:t> di toko, targe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embal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a:t>
            </a:r>
          </a:p>
          <a:p>
            <a:endParaRPr lang="en-ID" dirty="0"/>
          </a:p>
        </p:txBody>
      </p:sp>
    </p:spTree>
    <p:extLst>
      <p:ext uri="{BB962C8B-B14F-4D97-AF65-F5344CB8AC3E}">
        <p14:creationId xmlns:p14="http://schemas.microsoft.com/office/powerpoint/2010/main" val="39095160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EAEF9-BF4F-D030-A0B7-01C6C8C4C502}"/>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US" dirty="0" err="1"/>
              <a:t>Efektivitas</a:t>
            </a:r>
            <a:r>
              <a:rPr lang="en-US" dirty="0"/>
              <a:t> </a:t>
            </a:r>
            <a:r>
              <a:rPr lang="en-US" dirty="0" err="1"/>
              <a:t>Kampanye</a:t>
            </a:r>
            <a:r>
              <a:rPr lang="en-US" dirty="0"/>
              <a:t> </a:t>
            </a:r>
            <a:r>
              <a:rPr lang="en-US" dirty="0" err="1"/>
              <a:t>Pemasaran</a:t>
            </a:r>
            <a:r>
              <a:rPr lang="en-US" dirty="0"/>
              <a:t>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83253981-845B-443F-5A20-0161826E0383}"/>
              </a:ext>
            </a:extLst>
          </p:cNvPr>
          <p:cNvSpPr>
            <a:spLocks noGrp="1"/>
          </p:cNvSpPr>
          <p:nvPr>
            <p:ph type="body" sz="quarter" idx="10"/>
          </p:nvPr>
        </p:nvSpPr>
        <p:spPr>
          <a:xfrm>
            <a:off x="844060" y="2263140"/>
            <a:ext cx="16611131" cy="7452360"/>
          </a:xfrm>
        </p:spPr>
        <p:txBody>
          <a:bodyPr/>
          <a:lstStyle/>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3.8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mosi</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tensif</a:t>
            </a:r>
            <a:r>
              <a:rPr lang="en-ID" sz="2800" b="0" i="0" dirty="0">
                <a:solidFill>
                  <a:srgbClr val="212121"/>
                </a:solidFill>
                <a:effectLst/>
                <a:highlight>
                  <a:srgbClr val="FFFFFF"/>
                </a:highlight>
                <a:latin typeface="+mj-lt"/>
              </a:rPr>
              <a:t> dan acara-acara di toko, </a:t>
            </a:r>
            <a:r>
              <a:rPr lang="en-ID" sz="2800" b="0" i="0" dirty="0" err="1">
                <a:solidFill>
                  <a:srgbClr val="212121"/>
                </a:solidFill>
                <a:effectLst/>
                <a:highlight>
                  <a:srgbClr val="FFFFFF"/>
                </a:highlight>
                <a:latin typeface="+mj-lt"/>
              </a:rPr>
              <a:t>respon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hadap</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pa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2.9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retargeting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aik</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rsonalis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online,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2.5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girim</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menyerta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efektivit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di </a:t>
            </a:r>
            <a:r>
              <a:rPr lang="en-ID" sz="2800" b="0" i="0" dirty="0" err="1">
                <a:solidFill>
                  <a:srgbClr val="212121"/>
                </a:solidFill>
                <a:effectLst/>
                <a:highlight>
                  <a:srgbClr val="FFFFFF"/>
                </a:highlight>
                <a:latin typeface="+mj-lt"/>
              </a:rPr>
              <a:t>kanal</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a:t>
            </a:r>
          </a:p>
          <a:p>
            <a:endParaRPr lang="en-ID" dirty="0"/>
          </a:p>
        </p:txBody>
      </p:sp>
    </p:spTree>
    <p:extLst>
      <p:ext uri="{BB962C8B-B14F-4D97-AF65-F5344CB8AC3E}">
        <p14:creationId xmlns:p14="http://schemas.microsoft.com/office/powerpoint/2010/main" val="4196703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46735-FC74-27D6-46B2-2B093F276230}"/>
              </a:ext>
            </a:extLst>
          </p:cNvPr>
          <p:cNvSpPr>
            <a:spLocks noGrp="1"/>
          </p:cNvSpPr>
          <p:nvPr>
            <p:ph type="title"/>
          </p:nvPr>
        </p:nvSpPr>
        <p:spPr/>
        <p:txBody>
          <a:bodyPr/>
          <a:lstStyle/>
          <a:p>
            <a:r>
              <a:rPr lang="en-US" dirty="0"/>
              <a:t>Disclaimer</a:t>
            </a:r>
            <a:endParaRPr lang="en-ID" dirty="0"/>
          </a:p>
        </p:txBody>
      </p:sp>
      <p:sp>
        <p:nvSpPr>
          <p:cNvPr id="3" name="Text Placeholder 2">
            <a:extLst>
              <a:ext uri="{FF2B5EF4-FFF2-40B4-BE49-F238E27FC236}">
                <a16:creationId xmlns:a16="http://schemas.microsoft.com/office/drawing/2014/main" id="{75FE1FF9-BFBB-9555-DF77-2DCDF951C637}"/>
              </a:ext>
            </a:extLst>
          </p:cNvPr>
          <p:cNvSpPr>
            <a:spLocks noGrp="1"/>
          </p:cNvSpPr>
          <p:nvPr>
            <p:ph type="body" sz="quarter" idx="10"/>
          </p:nvPr>
        </p:nvSpPr>
        <p:spPr>
          <a:xfrm>
            <a:off x="835023" y="3303270"/>
            <a:ext cx="16611131" cy="3680460"/>
          </a:xfrm>
        </p:spPr>
        <p:txBody>
          <a:bodyPr>
            <a:normAutofit/>
          </a:bodyPr>
          <a:lstStyle/>
          <a:p>
            <a:r>
              <a:rPr lang="en-US" b="0" dirty="0" err="1"/>
              <a:t>Penelitian</a:t>
            </a:r>
            <a:r>
              <a:rPr lang="en-US" b="0" dirty="0"/>
              <a:t> </a:t>
            </a:r>
            <a:r>
              <a:rPr lang="en-US" b="0" dirty="0" err="1"/>
              <a:t>ini</a:t>
            </a:r>
            <a:r>
              <a:rPr lang="en-US" b="0" dirty="0"/>
              <a:t> </a:t>
            </a:r>
            <a:r>
              <a:rPr lang="en-US" b="0" dirty="0" err="1"/>
              <a:t>bertujuan</a:t>
            </a:r>
            <a:r>
              <a:rPr lang="en-US" b="0" dirty="0"/>
              <a:t> </a:t>
            </a:r>
            <a:r>
              <a:rPr lang="en-US" b="0" dirty="0" err="1"/>
              <a:t>untuk</a:t>
            </a:r>
            <a:r>
              <a:rPr lang="en-US" b="0" dirty="0"/>
              <a:t> </a:t>
            </a:r>
            <a:r>
              <a:rPr lang="en-US" b="0" dirty="0" err="1"/>
              <a:t>mencari</a:t>
            </a:r>
            <a:r>
              <a:rPr lang="en-US" b="0" dirty="0"/>
              <a:t> </a:t>
            </a:r>
            <a:r>
              <a:rPr lang="en-US" b="0" dirty="0" err="1"/>
              <a:t>Anomali</a:t>
            </a:r>
            <a:r>
              <a:rPr lang="en-US" b="0" dirty="0"/>
              <a:t> pada dataset Supermarket Customer yang </a:t>
            </a:r>
            <a:r>
              <a:rPr lang="en-US" b="0" dirty="0" err="1"/>
              <a:t>telah</a:t>
            </a:r>
            <a:r>
              <a:rPr lang="en-US" b="0" dirty="0"/>
              <a:t> </a:t>
            </a:r>
            <a:r>
              <a:rPr lang="en-US" b="0" dirty="0" err="1"/>
              <a:t>diberikan</a:t>
            </a:r>
            <a:r>
              <a:rPr lang="en-US" b="0" dirty="0"/>
              <a:t> oleh </a:t>
            </a:r>
            <a:r>
              <a:rPr lang="en-US" b="0" dirty="0" err="1"/>
              <a:t>Purwadikha</a:t>
            </a:r>
            <a:r>
              <a:rPr lang="en-US" b="0" dirty="0"/>
              <a:t> </a:t>
            </a:r>
            <a:r>
              <a:rPr lang="en-US" b="0" dirty="0" err="1"/>
              <a:t>untuk</a:t>
            </a:r>
            <a:r>
              <a:rPr lang="en-US" b="0" dirty="0"/>
              <a:t> </a:t>
            </a:r>
            <a:r>
              <a:rPr lang="en-US" b="0" dirty="0" err="1"/>
              <a:t>dianalisis</a:t>
            </a:r>
            <a:r>
              <a:rPr lang="en-US" b="0" dirty="0"/>
              <a:t> dan </a:t>
            </a:r>
            <a:r>
              <a:rPr lang="en-US" b="0" dirty="0" err="1"/>
              <a:t>diberikan</a:t>
            </a:r>
            <a:r>
              <a:rPr lang="en-US" b="0" dirty="0"/>
              <a:t> Kesimpulan </a:t>
            </a:r>
            <a:r>
              <a:rPr lang="en-US" b="0" dirty="0" err="1"/>
              <a:t>beserta</a:t>
            </a:r>
            <a:r>
              <a:rPr lang="en-US" b="0" dirty="0"/>
              <a:t> </a:t>
            </a:r>
            <a:r>
              <a:rPr lang="en-US" b="0" dirty="0" err="1"/>
              <a:t>rekomendasi</a:t>
            </a:r>
            <a:r>
              <a:rPr lang="en-US" b="0" dirty="0"/>
              <a:t> </a:t>
            </a:r>
            <a:r>
              <a:rPr lang="en-US" b="0" dirty="0" err="1"/>
              <a:t>berdasarkan</a:t>
            </a:r>
            <a:r>
              <a:rPr lang="en-US" b="0" dirty="0"/>
              <a:t> Business Knowledge.</a:t>
            </a:r>
          </a:p>
          <a:p>
            <a:endParaRPr lang="en-US" b="0" dirty="0"/>
          </a:p>
          <a:p>
            <a:r>
              <a:rPr lang="en-ID" b="0" i="0" dirty="0">
                <a:solidFill>
                  <a:srgbClr val="212121"/>
                </a:solidFill>
                <a:effectLst/>
                <a:highlight>
                  <a:srgbClr val="FFFFFF"/>
                </a:highlight>
                <a:latin typeface="+mj-lt"/>
              </a:rPr>
              <a:t>Target-target </a:t>
            </a:r>
            <a:r>
              <a:rPr lang="en-ID" b="0" i="0" dirty="0" err="1">
                <a:solidFill>
                  <a:srgbClr val="212121"/>
                </a:solidFill>
                <a:effectLst/>
                <a:highlight>
                  <a:srgbClr val="FFFFFF"/>
                </a:highlight>
                <a:latin typeface="+mj-lt"/>
              </a:rPr>
              <a:t>sebelumny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bua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erdasar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ingkat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realisti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mpertimbang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otensi</a:t>
            </a:r>
            <a:r>
              <a:rPr lang="en-ID" b="0" i="0" dirty="0">
                <a:solidFill>
                  <a:srgbClr val="212121"/>
                </a:solidFill>
                <a:effectLst/>
                <a:highlight>
                  <a:srgbClr val="FFFFFF"/>
                </a:highlight>
                <a:latin typeface="+mj-lt"/>
              </a:rPr>
              <a:t> pasar dan </a:t>
            </a:r>
            <a:r>
              <a:rPr lang="en-ID" b="0" i="0" dirty="0" err="1">
                <a:solidFill>
                  <a:srgbClr val="212121"/>
                </a:solidFill>
                <a:effectLst/>
                <a:highlight>
                  <a:srgbClr val="FFFFFF"/>
                </a:highlight>
                <a:latin typeface="+mj-lt"/>
              </a:rPr>
              <a:t>bisnis</a:t>
            </a:r>
            <a:r>
              <a:rPr lang="en-ID" b="0" i="0" dirty="0">
                <a:solidFill>
                  <a:srgbClr val="212121"/>
                </a:solidFill>
                <a:effectLst/>
                <a:highlight>
                  <a:srgbClr val="FFFFFF"/>
                </a:highlight>
                <a:latin typeface="+mj-lt"/>
              </a:rPr>
              <a:t> di </a:t>
            </a:r>
            <a:r>
              <a:rPr lang="en-ID" b="0" i="0" dirty="0" err="1">
                <a:solidFill>
                  <a:srgbClr val="212121"/>
                </a:solidFill>
                <a:effectLst/>
                <a:highlight>
                  <a:srgbClr val="FFFFFF"/>
                </a:highlight>
                <a:latin typeface="+mj-lt"/>
              </a:rPr>
              <a:t>industri</a:t>
            </a:r>
            <a:r>
              <a:rPr lang="en-ID" b="0" i="0" dirty="0">
                <a:solidFill>
                  <a:srgbClr val="212121"/>
                </a:solidFill>
                <a:effectLst/>
                <a:highlight>
                  <a:srgbClr val="FFFFFF"/>
                </a:highlight>
                <a:latin typeface="+mj-lt"/>
              </a:rPr>
              <a:t> supermarket. </a:t>
            </a:r>
            <a:r>
              <a:rPr lang="en-ID" b="0" i="0" dirty="0" err="1">
                <a:solidFill>
                  <a:srgbClr val="212121"/>
                </a:solidFill>
                <a:effectLst/>
                <a:highlight>
                  <a:srgbClr val="FFFFFF"/>
                </a:highlight>
                <a:latin typeface="+mj-lt"/>
              </a:rPr>
              <a:t>Peningkat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n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harap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is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capa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mplementasi</a:t>
            </a:r>
            <a:r>
              <a:rPr lang="en-ID" b="0" i="0" dirty="0">
                <a:solidFill>
                  <a:srgbClr val="212121"/>
                </a:solidFill>
                <a:effectLst/>
                <a:highlight>
                  <a:srgbClr val="FFFFFF"/>
                </a:highlight>
                <a:latin typeface="+mj-lt"/>
              </a:rPr>
              <a:t> strategi </a:t>
            </a:r>
            <a:r>
              <a:rPr lang="en-ID" b="0" i="0" dirty="0" err="1">
                <a:solidFill>
                  <a:srgbClr val="212121"/>
                </a:solidFill>
                <a:effectLst/>
                <a:highlight>
                  <a:srgbClr val="FFFFFF"/>
                </a:highlight>
                <a:latin typeface="+mj-lt"/>
              </a:rPr>
              <a:t>pemasar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tepat</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optimalisas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galam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langgan</a:t>
            </a:r>
            <a:r>
              <a:rPr lang="en-ID" b="0" i="0" dirty="0">
                <a:solidFill>
                  <a:srgbClr val="212121"/>
                </a:solidFill>
                <a:effectLst/>
                <a:highlight>
                  <a:srgbClr val="FFFFFF"/>
                </a:highlight>
                <a:latin typeface="+mj-lt"/>
              </a:rPr>
              <a:t> di masing-masing </a:t>
            </a:r>
            <a:r>
              <a:rPr lang="en-ID" b="0" i="0" dirty="0" err="1">
                <a:solidFill>
                  <a:srgbClr val="212121"/>
                </a:solidFill>
                <a:effectLst/>
                <a:highlight>
                  <a:srgbClr val="FFFFFF"/>
                </a:highlight>
                <a:latin typeface="+mj-lt"/>
              </a:rPr>
              <a:t>kanal</a:t>
            </a:r>
            <a:r>
              <a:rPr lang="en-ID" b="0" i="0" dirty="0">
                <a:solidFill>
                  <a:srgbClr val="212121"/>
                </a:solidFill>
                <a:effectLst/>
                <a:highlight>
                  <a:srgbClr val="FFFFFF"/>
                </a:highlight>
                <a:latin typeface="+mj-lt"/>
              </a:rPr>
              <a:t>.</a:t>
            </a:r>
          </a:p>
          <a:p>
            <a:endParaRPr lang="en-ID" b="0" dirty="0">
              <a:solidFill>
                <a:srgbClr val="212121"/>
              </a:solidFill>
              <a:highlight>
                <a:srgbClr val="FFFFFF"/>
              </a:highlight>
              <a:latin typeface="+mj-lt"/>
            </a:endParaRPr>
          </a:p>
          <a:p>
            <a:r>
              <a:rPr lang="nl-NL" b="0" dirty="0">
                <a:solidFill>
                  <a:srgbClr val="000000"/>
                </a:solidFill>
                <a:effectLst/>
                <a:highlight>
                  <a:srgbClr val="F7F7F7"/>
                </a:highlight>
                <a:latin typeface="+mj-lt"/>
              </a:rPr>
              <a:t>Link artikel untuk strategi sebelumnya:</a:t>
            </a:r>
            <a:r>
              <a:rPr lang="nl-NL" b="0" dirty="0">
                <a:solidFill>
                  <a:srgbClr val="A31515"/>
                </a:solidFill>
                <a:effectLst/>
                <a:highlight>
                  <a:srgbClr val="F7F7F7"/>
                </a:highlight>
                <a:latin typeface="+mj-lt"/>
              </a:rPr>
              <a:t>(https://www.appier.com/en/blog/7-powerful-strategies-to-increase-repeat-purchase)</a:t>
            </a:r>
            <a:r>
              <a:rPr lang="nl-NL" b="0" dirty="0">
                <a:solidFill>
                  <a:srgbClr val="000000"/>
                </a:solidFill>
                <a:effectLst/>
                <a:highlight>
                  <a:srgbClr val="F7F7F7"/>
                </a:highlight>
                <a:latin typeface="+mj-lt"/>
              </a:rPr>
              <a:t> dan </a:t>
            </a:r>
            <a:r>
              <a:rPr lang="nl-NL" b="0" dirty="0">
                <a:solidFill>
                  <a:srgbClr val="A31515"/>
                </a:solidFill>
                <a:effectLst/>
                <a:highlight>
                  <a:srgbClr val="F7F7F7"/>
                </a:highlight>
                <a:latin typeface="+mj-lt"/>
              </a:rPr>
              <a:t>(https://demandscience.com/resources/blog/ways-to-measure-campaign-success/)</a:t>
            </a:r>
            <a:endParaRPr lang="nl-NL" b="0" dirty="0">
              <a:solidFill>
                <a:srgbClr val="000000"/>
              </a:solidFill>
              <a:effectLst/>
              <a:highlight>
                <a:srgbClr val="F7F7F7"/>
              </a:highlight>
              <a:latin typeface="+mj-lt"/>
            </a:endParaRPr>
          </a:p>
          <a:p>
            <a:endParaRPr lang="en-ID" dirty="0">
              <a:latin typeface="+mj-lt"/>
            </a:endParaRPr>
          </a:p>
        </p:txBody>
      </p:sp>
    </p:spTree>
    <p:extLst>
      <p:ext uri="{BB962C8B-B14F-4D97-AF65-F5344CB8AC3E}">
        <p14:creationId xmlns:p14="http://schemas.microsoft.com/office/powerpoint/2010/main" val="539577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7DA627E-2BD4-EE13-F77A-153C98B785BA}"/>
              </a:ext>
            </a:extLst>
          </p:cNvPr>
          <p:cNvSpPr txBox="1"/>
          <p:nvPr/>
        </p:nvSpPr>
        <p:spPr>
          <a:xfrm>
            <a:off x="1307307" y="4498623"/>
            <a:ext cx="14787562" cy="1289753"/>
          </a:xfrm>
          <a:prstGeom prst="rect">
            <a:avLst/>
          </a:prstGeom>
          <a:noFill/>
        </p:spPr>
        <p:txBody>
          <a:bodyPr wrap="square" tIns="90000" bIns="90000" rtlCol="0" anchor="t">
            <a:spAutoFit/>
          </a:bodyPr>
          <a:lstStyle/>
          <a:p>
            <a:pPr algn="ctr"/>
            <a:r>
              <a:rPr lang="en-US" sz="7200" dirty="0">
                <a:latin typeface="Arial" pitchFamily="34" charset="0"/>
                <a:cs typeface="Arial" pitchFamily="34" charset="0"/>
              </a:rPr>
              <a:t>Thank You</a:t>
            </a:r>
            <a:endParaRPr lang="en-ID" sz="7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445425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tatan</a:t>
            </a:r>
            <a:r>
              <a:rPr lang="en-US" dirty="0"/>
              <a:t> </a:t>
            </a:r>
            <a:r>
              <a:rPr lang="en-US" dirty="0" err="1"/>
              <a:t>untuk</a:t>
            </a:r>
            <a:r>
              <a:rPr lang="en-US" dirty="0"/>
              <a:t> </a:t>
            </a:r>
            <a:r>
              <a:rPr lang="en-US" dirty="0" err="1"/>
              <a:t>pembaca</a:t>
            </a:r>
            <a:endParaRPr lang="en-US" dirty="0"/>
          </a:p>
        </p:txBody>
      </p:sp>
      <p:sp>
        <p:nvSpPr>
          <p:cNvPr id="16" name="Text Placeholder 12">
            <a:hlinkClick r:id="rId3" action="ppaction://hlinksldjump"/>
          </p:cNvPr>
          <p:cNvSpPr>
            <a:spLocks noGrp="1"/>
          </p:cNvSpPr>
          <p:nvPr>
            <p:custDataLst>
              <p:tags r:id="rId1"/>
            </p:custDataLst>
          </p:nvPr>
        </p:nvSpPr>
        <p:spPr bwMode="gray">
          <a:xfrm>
            <a:off x="728646" y="1828800"/>
            <a:ext cx="16602092" cy="7715250"/>
          </a:xfrm>
          <a:prstGeom prst="rect">
            <a:avLst/>
          </a:prstGeom>
          <a:noFill/>
          <a:effectLst/>
        </p:spPr>
        <p:txBody>
          <a:bodyPr vert="horz" lIns="685800" tIns="342900" rIns="0" bIns="381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D" sz="2000" b="0" i="0" dirty="0" err="1">
                <a:solidFill>
                  <a:srgbClr val="212121"/>
                </a:solidFill>
                <a:effectLst/>
                <a:highlight>
                  <a:srgbClr val="FFFFFF"/>
                </a:highlight>
                <a:latin typeface="Roboto" panose="02000000000000000000" pitchFamily="2" charset="0"/>
              </a:rPr>
              <a:t>Beriku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bera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fakt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gen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ilak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supermarke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dan Amerika, yang </a:t>
            </a:r>
            <a:r>
              <a:rPr lang="en-ID" sz="2000" b="0" i="0" dirty="0" err="1">
                <a:solidFill>
                  <a:srgbClr val="212121"/>
                </a:solidFill>
                <a:effectLst/>
                <a:highlight>
                  <a:srgbClr val="FFFFFF"/>
                </a:highlight>
                <a:latin typeface="Roboto" panose="02000000000000000000" pitchFamily="2" charset="0"/>
              </a:rPr>
              <a:t>mem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ilak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Katalog</a:t>
            </a:r>
            <a:r>
              <a:rPr lang="en-ID" sz="2000" b="0" i="0" dirty="0">
                <a:solidFill>
                  <a:srgbClr val="212121"/>
                </a:solidFill>
                <a:effectLst/>
                <a:highlight>
                  <a:srgbClr val="FFFFFF"/>
                </a:highlight>
                <a:latin typeface="Roboto" panose="02000000000000000000" pitchFamily="2" charset="0"/>
              </a:rPr>
              <a:t>, dan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a:t>
            </a:r>
          </a:p>
          <a:p>
            <a:pPr algn="l"/>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a:t>
            </a: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eruba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l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husus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l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COVID-19, </a:t>
            </a:r>
            <a:r>
              <a:rPr lang="en-ID" sz="2000" b="0" i="0" dirty="0" err="1">
                <a:solidFill>
                  <a:srgbClr val="212121"/>
                </a:solidFill>
                <a:effectLst/>
                <a:highlight>
                  <a:srgbClr val="FFFFFF"/>
                </a:highlight>
                <a:latin typeface="Roboto" panose="02000000000000000000" pitchFamily="2" charset="0"/>
              </a:rPr>
              <a:t>terjad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nja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sar</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butu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oko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pert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kanan</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Swedi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isal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meningk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besar</a:t>
            </a:r>
            <a:r>
              <a:rPr lang="en-ID" sz="2000" b="0" i="0" dirty="0">
                <a:solidFill>
                  <a:srgbClr val="212121"/>
                </a:solidFill>
                <a:effectLst/>
                <a:highlight>
                  <a:srgbClr val="FFFFFF"/>
                </a:highlight>
                <a:latin typeface="Roboto" panose="02000000000000000000" pitchFamily="2" charset="0"/>
              </a:rPr>
              <a:t> 49% pada </a:t>
            </a:r>
            <a:r>
              <a:rPr lang="en-ID" sz="2000" b="0" i="0" dirty="0" err="1">
                <a:solidFill>
                  <a:srgbClr val="212121"/>
                </a:solidFill>
                <a:effectLst/>
                <a:highlight>
                  <a:srgbClr val="FFFFFF"/>
                </a:highlight>
                <a:latin typeface="Roboto" panose="02000000000000000000" pitchFamily="2" charset="0"/>
              </a:rPr>
              <a:t>tahun</a:t>
            </a:r>
            <a:r>
              <a:rPr lang="en-ID" sz="2000" b="0" i="0" dirty="0">
                <a:solidFill>
                  <a:srgbClr val="212121"/>
                </a:solidFill>
                <a:effectLst/>
                <a:highlight>
                  <a:srgbClr val="FFFFFF"/>
                </a:highlight>
                <a:latin typeface="Roboto" panose="02000000000000000000" pitchFamily="2" charset="0"/>
              </a:rPr>
              <a:t> 2020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ahu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belumnya</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juga </a:t>
            </a:r>
            <a:r>
              <a:rPr lang="en-ID" sz="2000" b="0" i="0" dirty="0" err="1">
                <a:solidFill>
                  <a:srgbClr val="212121"/>
                </a:solidFill>
                <a:effectLst/>
                <a:highlight>
                  <a:srgbClr val="FFFFFF"/>
                </a:highlight>
                <a:latin typeface="Roboto" panose="02000000000000000000" pitchFamily="2" charset="0"/>
              </a:rPr>
              <a:t>terlihat</a:t>
            </a:r>
            <a:r>
              <a:rPr lang="en-ID" sz="2000" b="0" i="0" dirty="0">
                <a:solidFill>
                  <a:srgbClr val="212121"/>
                </a:solidFill>
                <a:effectLst/>
                <a:highlight>
                  <a:srgbClr val="FFFFFF"/>
                </a:highlight>
                <a:latin typeface="Roboto" panose="02000000000000000000" pitchFamily="2" charset="0"/>
              </a:rPr>
              <a:t> di Italia, di mana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meningkat</a:t>
            </a:r>
            <a:r>
              <a:rPr lang="en-ID" sz="2000" b="0" i="0" dirty="0">
                <a:solidFill>
                  <a:srgbClr val="212121"/>
                </a:solidFill>
                <a:effectLst/>
                <a:highlight>
                  <a:srgbClr val="FFFFFF"/>
                </a:highlight>
                <a:latin typeface="Roboto" panose="02000000000000000000" pitchFamily="2" charset="0"/>
              </a:rPr>
              <a:t> 56%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kira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wal</a:t>
            </a:r>
            <a:r>
              <a:rPr lang="en-ID" sz="2000" b="0" i="0" dirty="0">
                <a:solidFill>
                  <a:srgbClr val="212121"/>
                </a:solidFill>
                <a:effectLst/>
                <a:highlight>
                  <a:srgbClr val="FFFFFF"/>
                </a:highlight>
                <a:latin typeface="Roboto" panose="02000000000000000000" pitchFamily="2" charset="0"/>
              </a:rPr>
              <a:t> 26%.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4"/>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refer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Kesadar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ber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k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sadar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ingg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hadap</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ren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kali </a:t>
            </a:r>
            <a:r>
              <a:rPr lang="en-ID" sz="2000" b="0" i="0" dirty="0" err="1">
                <a:solidFill>
                  <a:srgbClr val="212121"/>
                </a:solidFill>
                <a:effectLst/>
                <a:highlight>
                  <a:srgbClr val="FFFFFF"/>
                </a:highlight>
                <a:latin typeface="Roboto" panose="02000000000000000000" pitchFamily="2" charset="0"/>
              </a:rPr>
              <a:t>dianggap</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am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mengurang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eja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rbo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diimpor</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5"/>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a:solidFill>
                  <a:srgbClr val="212121"/>
                </a:solidFill>
                <a:effectLst/>
                <a:highlight>
                  <a:srgbClr val="FFFFFF"/>
                </a:highlight>
                <a:latin typeface="Roboto" panose="02000000000000000000" pitchFamily="2" charset="0"/>
              </a:rPr>
              <a:t>Amerika </a:t>
            </a:r>
            <a:r>
              <a:rPr lang="en-ID" sz="2000" b="0" i="0" dirty="0" err="1">
                <a:solidFill>
                  <a:srgbClr val="212121"/>
                </a:solidFill>
                <a:effectLst/>
                <a:highlight>
                  <a:srgbClr val="FFFFFF"/>
                </a:highlight>
                <a:latin typeface="Roboto" panose="02000000000000000000" pitchFamily="2" charset="0"/>
              </a:rPr>
              <a:t>Serikat</a:t>
            </a:r>
            <a:r>
              <a:rPr lang="en-ID" sz="2000" b="0" i="0" dirty="0">
                <a:solidFill>
                  <a:srgbClr val="212121"/>
                </a:solidFill>
                <a:effectLst/>
                <a:highlight>
                  <a:srgbClr val="FFFFFF"/>
                </a:highlight>
                <a:latin typeface="Roboto" panose="02000000000000000000" pitchFamily="2" charset="0"/>
              </a:rPr>
              <a:t>:</a:t>
            </a: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Di Amerika </a:t>
            </a:r>
            <a:r>
              <a:rPr lang="en-ID" sz="2000" b="0" i="0" dirty="0" err="1">
                <a:solidFill>
                  <a:srgbClr val="212121"/>
                </a:solidFill>
                <a:effectLst/>
                <a:highlight>
                  <a:srgbClr val="FFFFFF"/>
                </a:highlight>
                <a:latin typeface="Roboto" panose="02000000000000000000" pitchFamily="2" charset="0"/>
              </a:rPr>
              <a:t>Serik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rus</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tegori</a:t>
            </a:r>
            <a:r>
              <a:rPr lang="en-ID" sz="2000" b="0" i="0" dirty="0">
                <a:solidFill>
                  <a:srgbClr val="212121"/>
                </a:solidFill>
                <a:effectLst/>
                <a:highlight>
                  <a:srgbClr val="FFFFFF"/>
                </a:highlight>
                <a:latin typeface="Roboto" panose="02000000000000000000" pitchFamily="2" charset="0"/>
              </a:rPr>
              <a:t> non-</a:t>
            </a:r>
            <a:r>
              <a:rPr lang="en-ID" sz="2000" b="0" i="0" dirty="0" err="1">
                <a:solidFill>
                  <a:srgbClr val="212121"/>
                </a:solidFill>
                <a:effectLst/>
                <a:highlight>
                  <a:srgbClr val="FFFFFF"/>
                </a:highlight>
                <a:latin typeface="Roboto" panose="02000000000000000000" pitchFamily="2" charset="0"/>
              </a:rPr>
              <a:t>makan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mazon </a:t>
            </a:r>
            <a:r>
              <a:rPr lang="en-ID" sz="2000" b="0" i="0" dirty="0" err="1">
                <a:solidFill>
                  <a:srgbClr val="212121"/>
                </a:solidFill>
                <a:effectLst/>
                <a:highlight>
                  <a:srgbClr val="FFFFFF"/>
                </a:highlight>
                <a:latin typeface="Roboto" panose="02000000000000000000" pitchFamily="2" charset="0"/>
              </a:rPr>
              <a:t>memega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kitar</a:t>
            </a:r>
            <a:r>
              <a:rPr lang="en-ID" sz="2000" b="0" i="0" dirty="0">
                <a:solidFill>
                  <a:srgbClr val="212121"/>
                </a:solidFill>
                <a:effectLst/>
                <a:highlight>
                  <a:srgbClr val="FFFFFF"/>
                </a:highlight>
                <a:latin typeface="Roboto" panose="02000000000000000000" pitchFamily="2" charset="0"/>
              </a:rPr>
              <a:t> 40%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jualan</a:t>
            </a:r>
            <a:r>
              <a:rPr lang="en-ID" sz="2000" b="0" i="0" dirty="0">
                <a:solidFill>
                  <a:srgbClr val="212121"/>
                </a:solidFill>
                <a:effectLst/>
                <a:highlight>
                  <a:srgbClr val="FFFFFF"/>
                </a:highlight>
                <a:latin typeface="Roboto" panose="02000000000000000000" pitchFamily="2" charset="0"/>
              </a:rPr>
              <a:t> online pada </a:t>
            </a:r>
            <a:r>
              <a:rPr lang="en-ID" sz="2000" b="0" i="0" dirty="0" err="1">
                <a:solidFill>
                  <a:srgbClr val="212121"/>
                </a:solidFill>
                <a:effectLst/>
                <a:highlight>
                  <a:srgbClr val="FFFFFF"/>
                </a:highlight>
                <a:latin typeface="Roboto" panose="02000000000000000000" pitchFamily="2" charset="0"/>
              </a:rPr>
              <a:t>aw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Amerika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a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karen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muda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harga</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ulas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umber</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jara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temukan</a:t>
            </a:r>
            <a:r>
              <a:rPr lang="en-ID" sz="2000" b="0" i="0" dirty="0">
                <a:solidFill>
                  <a:srgbClr val="212121"/>
                </a:solidFill>
                <a:effectLst/>
                <a:highlight>
                  <a:srgbClr val="FFFFFF"/>
                </a:highlight>
                <a:latin typeface="Roboto" panose="02000000000000000000" pitchFamily="2" charset="0"/>
              </a:rPr>
              <a:t> di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4"/>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Interak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ntar</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aluran</a:t>
            </a:r>
            <a:r>
              <a:rPr lang="en-ID" sz="2000" b="0" i="0" dirty="0">
                <a:solidFill>
                  <a:srgbClr val="212121"/>
                </a:solidFill>
                <a:effectLst/>
                <a:highlight>
                  <a:srgbClr val="FFFFFF"/>
                </a:highlight>
                <a:latin typeface="Roboto" panose="02000000000000000000" pitchFamily="2" charset="0"/>
              </a:rPr>
              <a:t>: Banyak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di Amerika </a:t>
            </a:r>
            <a:r>
              <a:rPr lang="en-ID" sz="2000" b="0" i="0" dirty="0" err="1">
                <a:solidFill>
                  <a:srgbClr val="212121"/>
                </a:solidFill>
                <a:effectLst/>
                <a:highlight>
                  <a:srgbClr val="FFFFFF"/>
                </a:highlight>
                <a:latin typeface="Roboto" panose="02000000000000000000" pitchFamily="2" charset="0"/>
              </a:rPr>
              <a:t>menggabu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dan offline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apat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nfa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ksim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isal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e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c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form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car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tap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di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harga</a:t>
            </a:r>
            <a:r>
              <a:rPr lang="en-ID" sz="2000" b="0" i="0" dirty="0">
                <a:solidFill>
                  <a:srgbClr val="212121"/>
                </a:solidFill>
                <a:effectLst/>
                <a:highlight>
                  <a:srgbClr val="FFFFFF"/>
                </a:highlight>
                <a:latin typeface="Roboto" panose="02000000000000000000" pitchFamily="2" charset="0"/>
              </a:rPr>
              <a:t> di sana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mpeti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ta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e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butuh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gera</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6"/>
              </a:rPr>
              <a:t>link text</a:t>
            </a:r>
            <a:endParaRPr lang="en-ID" sz="2000" b="0" i="0" dirty="0">
              <a:solidFill>
                <a:srgbClr val="212121"/>
              </a:solidFill>
              <a:effectLst/>
              <a:highlight>
                <a:srgbClr val="FFFFFF"/>
              </a:highlight>
              <a:latin typeface="Roboto" panose="02000000000000000000" pitchFamily="2" charset="0"/>
            </a:endParaRPr>
          </a:p>
        </p:txBody>
      </p:sp>
      <p:sp>
        <p:nvSpPr>
          <p:cNvPr id="15" name="TextBox 14"/>
          <p:cNvSpPr txBox="1"/>
          <p:nvPr/>
        </p:nvSpPr>
        <p:spPr>
          <a:xfrm>
            <a:off x="7058025" y="19874"/>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18" name="Rectangle 17"/>
          <p:cNvSpPr/>
          <p:nvPr/>
        </p:nvSpPr>
        <p:spPr>
          <a:xfrm>
            <a:off x="8343900" y="10178775"/>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50433680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grpSp>
        <p:nvGrpSpPr>
          <p:cNvPr id="200" name="Google Shape;200;p21"/>
          <p:cNvGrpSpPr/>
          <p:nvPr/>
        </p:nvGrpSpPr>
        <p:grpSpPr>
          <a:xfrm>
            <a:off x="317543" y="333913"/>
            <a:ext cx="17652915" cy="9646947"/>
            <a:chOff x="0" y="0"/>
            <a:chExt cx="4649327" cy="2540760"/>
          </a:xfrm>
        </p:grpSpPr>
        <p:sp>
          <p:nvSpPr>
            <p:cNvPr id="201" name="Google Shape;201;p21"/>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05"/>
              </a:srgbClr>
            </a:solidFill>
            <a:ln>
              <a:noFill/>
            </a:ln>
          </p:spPr>
        </p:sp>
        <p:sp>
          <p:nvSpPr>
            <p:cNvPr id="202" name="Google Shape;202;p21"/>
            <p:cNvSpPr txBox="1"/>
            <p:nvPr/>
          </p:nvSpPr>
          <p:spPr>
            <a:xfrm>
              <a:off x="0" y="38100"/>
              <a:ext cx="4649327" cy="250266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203" name="Google Shape;203;p21"/>
          <p:cNvCxnSpPr/>
          <p:nvPr/>
        </p:nvCxnSpPr>
        <p:spPr>
          <a:xfrm rot="10800000">
            <a:off x="1028700" y="5143500"/>
            <a:ext cx="16230600" cy="0"/>
          </a:xfrm>
          <a:prstGeom prst="straightConnector1">
            <a:avLst/>
          </a:prstGeom>
          <a:noFill/>
          <a:ln w="28575" cap="flat" cmpd="sng">
            <a:solidFill>
              <a:srgbClr val="000000"/>
            </a:solidFill>
            <a:prstDash val="solid"/>
            <a:round/>
            <a:headEnd type="none" w="sm" len="sm"/>
            <a:tailEnd type="none" w="sm" len="sm"/>
          </a:ln>
        </p:spPr>
      </p:cxnSp>
      <p:sp>
        <p:nvSpPr>
          <p:cNvPr id="205" name="Google Shape;205;p21"/>
          <p:cNvSpPr txBox="1"/>
          <p:nvPr/>
        </p:nvSpPr>
        <p:spPr>
          <a:xfrm>
            <a:off x="1028700" y="408017"/>
            <a:ext cx="7536300" cy="1290353"/>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6500" i="0" u="none" strike="noStrike" cap="none" dirty="0">
                <a:solidFill>
                  <a:srgbClr val="00B050"/>
                </a:solidFill>
                <a:latin typeface="Old Standard TT"/>
                <a:ea typeface="Old Standard TT"/>
                <a:cs typeface="Old Standard TT"/>
                <a:sym typeface="Old Standard TT"/>
              </a:rPr>
              <a:t>Problem Statement</a:t>
            </a:r>
            <a:endParaRPr dirty="0">
              <a:solidFill>
                <a:srgbClr val="00B050"/>
              </a:solidFill>
              <a:latin typeface="Old Standard TT"/>
              <a:ea typeface="Old Standard TT"/>
              <a:cs typeface="Old Standard TT"/>
              <a:sym typeface="Old Standard TT"/>
            </a:endParaRPr>
          </a:p>
        </p:txBody>
      </p:sp>
      <p:sp>
        <p:nvSpPr>
          <p:cNvPr id="206" name="Google Shape;206;p21"/>
          <p:cNvSpPr txBox="1"/>
          <p:nvPr/>
        </p:nvSpPr>
        <p:spPr>
          <a:xfrm>
            <a:off x="1028701" y="2258378"/>
            <a:ext cx="16230596" cy="2548390"/>
          </a:xfrm>
          <a:prstGeom prst="rect">
            <a:avLst/>
          </a:prstGeom>
          <a:noFill/>
          <a:ln>
            <a:noFill/>
          </a:ln>
        </p:spPr>
        <p:txBody>
          <a:bodyPr spcFirstLastPara="1" wrap="square" lIns="0" tIns="0" rIns="0" bIns="0" anchor="t" anchorCtr="0">
            <a:spAutoFit/>
          </a:bodyPr>
          <a:lstStyle/>
          <a:p>
            <a:pPr marL="0" marR="0" lvl="0" indent="0" algn="just" rtl="0">
              <a:lnSpc>
                <a:spcPct val="115000"/>
              </a:lnSpc>
              <a:spcBef>
                <a:spcPts val="0"/>
              </a:spcBef>
              <a:spcAft>
                <a:spcPts val="0"/>
              </a:spcAft>
              <a:buNone/>
            </a:pPr>
            <a:r>
              <a:rPr lang="en-ID" sz="2400" dirty="0" err="1"/>
              <a:t>Penelitian</a:t>
            </a:r>
            <a:r>
              <a:rPr lang="en-ID" sz="2400" dirty="0"/>
              <a:t> </a:t>
            </a:r>
            <a:r>
              <a:rPr lang="en-ID" sz="2400" dirty="0" err="1"/>
              <a:t>ini</a:t>
            </a:r>
            <a:r>
              <a:rPr lang="en-ID" sz="2400" dirty="0"/>
              <a:t> </a:t>
            </a:r>
            <a:r>
              <a:rPr lang="en-ID" sz="2400" dirty="0" err="1"/>
              <a:t>bertujuan</a:t>
            </a:r>
            <a:r>
              <a:rPr lang="en-ID" sz="2400" dirty="0"/>
              <a:t> </a:t>
            </a:r>
            <a:r>
              <a:rPr lang="en-ID" sz="2400" dirty="0" err="1"/>
              <a:t>untuk</a:t>
            </a:r>
            <a:r>
              <a:rPr lang="en-ID" sz="2400" dirty="0"/>
              <a:t> </a:t>
            </a:r>
            <a:r>
              <a:rPr lang="en-ID" sz="2400" dirty="0" err="1"/>
              <a:t>mengidentifikasi</a:t>
            </a:r>
            <a:r>
              <a:rPr lang="en-ID" sz="2400" dirty="0"/>
              <a:t> dan </a:t>
            </a:r>
            <a:r>
              <a:rPr lang="en-ID" sz="2400" dirty="0" err="1"/>
              <a:t>membandingkan</a:t>
            </a:r>
            <a:r>
              <a:rPr lang="en-ID" sz="2400" dirty="0"/>
              <a:t> </a:t>
            </a:r>
            <a:r>
              <a:rPr lang="en-ID" sz="2400" dirty="0" err="1"/>
              <a:t>perilaku</a:t>
            </a:r>
            <a:r>
              <a:rPr lang="en-ID" sz="2400" dirty="0"/>
              <a:t> </a:t>
            </a:r>
            <a:r>
              <a:rPr lang="en-ID" sz="2400" dirty="0" err="1"/>
              <a:t>pembelian</a:t>
            </a:r>
            <a:r>
              <a:rPr lang="en-ID" sz="2400" dirty="0"/>
              <a:t> </a:t>
            </a:r>
            <a:r>
              <a:rPr lang="en-ID" sz="2400" dirty="0" err="1"/>
              <a:t>konsumen</a:t>
            </a:r>
            <a:r>
              <a:rPr lang="en-ID" sz="2400" dirty="0"/>
              <a:t> di </a:t>
            </a:r>
            <a:r>
              <a:rPr lang="en-ID" sz="2400" dirty="0" err="1"/>
              <a:t>antara</a:t>
            </a:r>
            <a:r>
              <a:rPr lang="en-ID" sz="2400" dirty="0"/>
              <a:t> </a:t>
            </a:r>
            <a:r>
              <a:rPr lang="en-ID" sz="2400" dirty="0" err="1"/>
              <a:t>tiga</a:t>
            </a:r>
            <a:r>
              <a:rPr lang="en-ID" sz="2400" dirty="0"/>
              <a:t> </a:t>
            </a:r>
            <a:r>
              <a:rPr lang="en-ID" sz="2400" dirty="0" err="1"/>
              <a:t>saluran</a:t>
            </a:r>
            <a:r>
              <a:rPr lang="en-ID" sz="2400" dirty="0"/>
              <a:t> </a:t>
            </a:r>
            <a:r>
              <a:rPr lang="en-ID" sz="2400" dirty="0" err="1"/>
              <a:t>berbeda</a:t>
            </a:r>
            <a:r>
              <a:rPr lang="en-ID" sz="2400" dirty="0"/>
              <a:t> </a:t>
            </a:r>
            <a:r>
              <a:rPr lang="en-ID" sz="2400" dirty="0" err="1"/>
              <a:t>yaitu</a:t>
            </a:r>
            <a:r>
              <a:rPr lang="en-ID" sz="2400" dirty="0"/>
              <a:t> web, </a:t>
            </a:r>
            <a:r>
              <a:rPr lang="en-ID" sz="2400" dirty="0" err="1"/>
              <a:t>katalog</a:t>
            </a:r>
            <a:r>
              <a:rPr lang="en-ID" sz="2400" dirty="0"/>
              <a:t>, dan toko </a:t>
            </a:r>
            <a:r>
              <a:rPr lang="en-ID" sz="2400" dirty="0" err="1"/>
              <a:t>fisik</a:t>
            </a:r>
            <a:r>
              <a:rPr lang="en-ID" sz="2400" dirty="0"/>
              <a:t>. Kami </a:t>
            </a:r>
            <a:r>
              <a:rPr lang="en-ID" sz="2400" dirty="0" err="1"/>
              <a:t>akan</a:t>
            </a:r>
            <a:r>
              <a:rPr lang="en-ID" sz="2400" dirty="0"/>
              <a:t> </a:t>
            </a:r>
            <a:r>
              <a:rPr lang="en-ID" sz="2400" dirty="0" err="1"/>
              <a:t>menganalisis</a:t>
            </a:r>
            <a:r>
              <a:rPr lang="en-ID" sz="2400" dirty="0"/>
              <a:t> </a:t>
            </a:r>
            <a:r>
              <a:rPr lang="en-ID" sz="2400" dirty="0" err="1"/>
              <a:t>faktor-faktor</a:t>
            </a:r>
            <a:r>
              <a:rPr lang="en-ID" sz="2400" dirty="0"/>
              <a:t> yang </a:t>
            </a:r>
            <a:r>
              <a:rPr lang="en-ID" sz="2400" dirty="0" err="1"/>
              <a:t>mempengaruhi</a:t>
            </a:r>
            <a:r>
              <a:rPr lang="en-ID" sz="2400" dirty="0"/>
              <a:t> </a:t>
            </a:r>
            <a:r>
              <a:rPr lang="en-ID" sz="2400" dirty="0" err="1"/>
              <a:t>pilihan</a:t>
            </a:r>
            <a:r>
              <a:rPr lang="en-ID" sz="2400" dirty="0"/>
              <a:t> </a:t>
            </a:r>
            <a:r>
              <a:rPr lang="en-ID" sz="2400" dirty="0" err="1"/>
              <a:t>konsumen</a:t>
            </a:r>
            <a:r>
              <a:rPr lang="en-ID" sz="2400" dirty="0"/>
              <a:t> </a:t>
            </a:r>
            <a:r>
              <a:rPr lang="en-ID" sz="2400" dirty="0" err="1"/>
              <a:t>terhadap</a:t>
            </a:r>
            <a:r>
              <a:rPr lang="en-ID" sz="2400" dirty="0"/>
              <a:t> </a:t>
            </a:r>
            <a:r>
              <a:rPr lang="en-ID" sz="2400" dirty="0" err="1"/>
              <a:t>saluran</a:t>
            </a:r>
            <a:r>
              <a:rPr lang="en-ID" sz="2400" dirty="0"/>
              <a:t> </a:t>
            </a:r>
            <a:r>
              <a:rPr lang="en-ID" sz="2400" dirty="0" err="1"/>
              <a:t>tertentu</a:t>
            </a:r>
            <a:r>
              <a:rPr lang="en-ID" sz="2400" dirty="0"/>
              <a:t>, </a:t>
            </a:r>
            <a:r>
              <a:rPr lang="en-ID" sz="2400" dirty="0" err="1"/>
              <a:t>seperti</a:t>
            </a:r>
            <a:r>
              <a:rPr lang="en-ID" sz="2400" dirty="0"/>
              <a:t> </a:t>
            </a:r>
            <a:r>
              <a:rPr lang="en-ID" sz="2400" dirty="0" err="1"/>
              <a:t>frekuensi</a:t>
            </a:r>
            <a:r>
              <a:rPr lang="en-ID" sz="2400" dirty="0"/>
              <a:t> </a:t>
            </a:r>
            <a:r>
              <a:rPr lang="en-ID" sz="2400" dirty="0" err="1"/>
              <a:t>pembelian</a:t>
            </a:r>
            <a:r>
              <a:rPr lang="en-ID" sz="2400" dirty="0"/>
              <a:t>, rata-rata </a:t>
            </a:r>
            <a:r>
              <a:rPr lang="en-ID" sz="2400" dirty="0" err="1"/>
              <a:t>pengeluaran</a:t>
            </a:r>
            <a:r>
              <a:rPr lang="en-ID" sz="2400" dirty="0"/>
              <a:t>, </a:t>
            </a:r>
            <a:r>
              <a:rPr lang="en-ID" sz="2400" dirty="0" err="1"/>
              <a:t>preferensi</a:t>
            </a:r>
            <a:r>
              <a:rPr lang="en-ID" sz="2400" dirty="0"/>
              <a:t> </a:t>
            </a:r>
            <a:r>
              <a:rPr lang="en-ID" sz="2400" dirty="0" err="1"/>
              <a:t>produk</a:t>
            </a:r>
            <a:r>
              <a:rPr lang="en-ID" sz="2400" dirty="0"/>
              <a:t>, </a:t>
            </a:r>
            <a:r>
              <a:rPr lang="en-ID" sz="2400" dirty="0" err="1"/>
              <a:t>respon</a:t>
            </a:r>
            <a:r>
              <a:rPr lang="en-ID" sz="2400" dirty="0"/>
              <a:t> </a:t>
            </a:r>
            <a:r>
              <a:rPr lang="en-ID" sz="2400" dirty="0" err="1"/>
              <a:t>terhadap</a:t>
            </a:r>
            <a:r>
              <a:rPr lang="en-ID" sz="2400" dirty="0"/>
              <a:t> </a:t>
            </a:r>
            <a:r>
              <a:rPr lang="en-ID" sz="2400" dirty="0" err="1"/>
              <a:t>diskon</a:t>
            </a:r>
            <a:r>
              <a:rPr lang="en-ID" sz="2400" dirty="0"/>
              <a:t>, </a:t>
            </a:r>
            <a:r>
              <a:rPr lang="en-ID" sz="2400" dirty="0" err="1"/>
              <a:t>pengaruh</a:t>
            </a:r>
            <a:r>
              <a:rPr lang="en-ID" sz="2400" dirty="0"/>
              <a:t> complain, </a:t>
            </a:r>
            <a:r>
              <a:rPr lang="en-ID" sz="2400" dirty="0" err="1"/>
              <a:t>karakteristik</a:t>
            </a:r>
            <a:r>
              <a:rPr lang="en-ID" sz="2400" dirty="0"/>
              <a:t> </a:t>
            </a:r>
            <a:r>
              <a:rPr lang="en-ID" sz="2400" dirty="0" err="1"/>
              <a:t>demografis</a:t>
            </a:r>
            <a:r>
              <a:rPr lang="en-ID" sz="2400" dirty="0"/>
              <a:t> </a:t>
            </a:r>
            <a:r>
              <a:rPr lang="en-ID" sz="2400" dirty="0" err="1"/>
              <a:t>konsumen</a:t>
            </a:r>
            <a:r>
              <a:rPr lang="en-ID" sz="2400" dirty="0"/>
              <a:t>, </a:t>
            </a:r>
            <a:r>
              <a:rPr lang="en-ID" sz="2400" dirty="0" err="1"/>
              <a:t>serta</a:t>
            </a:r>
            <a:r>
              <a:rPr lang="en-ID" sz="2400" dirty="0"/>
              <a:t> </a:t>
            </a:r>
            <a:r>
              <a:rPr lang="en-ID" sz="2400" dirty="0" err="1"/>
              <a:t>pengaruh</a:t>
            </a:r>
            <a:r>
              <a:rPr lang="en-ID" sz="2400" dirty="0"/>
              <a:t> </a:t>
            </a:r>
            <a:r>
              <a:rPr lang="en-ID" sz="2400" dirty="0" err="1"/>
              <a:t>pemasaran</a:t>
            </a:r>
            <a:r>
              <a:rPr lang="en-ID" sz="2400" dirty="0"/>
              <a:t>. </a:t>
            </a:r>
            <a:r>
              <a:rPr lang="en-ID" sz="2400" dirty="0" err="1"/>
              <a:t>Melalui</a:t>
            </a:r>
            <a:r>
              <a:rPr lang="en-ID" sz="2400" dirty="0"/>
              <a:t> </a:t>
            </a:r>
            <a:r>
              <a:rPr lang="en-ID" sz="2400" dirty="0" err="1"/>
              <a:t>analisis</a:t>
            </a:r>
            <a:r>
              <a:rPr lang="en-ID" sz="2400" dirty="0"/>
              <a:t> data, kami </a:t>
            </a:r>
            <a:r>
              <a:rPr lang="en-ID" sz="2400" dirty="0" err="1"/>
              <a:t>berharap</a:t>
            </a:r>
            <a:r>
              <a:rPr lang="en-ID" sz="2400" dirty="0"/>
              <a:t> </a:t>
            </a:r>
            <a:r>
              <a:rPr lang="en-ID" sz="2400" dirty="0" err="1"/>
              <a:t>dapat</a:t>
            </a:r>
            <a:r>
              <a:rPr lang="en-ID" sz="2400" dirty="0"/>
              <a:t> </a:t>
            </a:r>
            <a:r>
              <a:rPr lang="en-ID" sz="2400" dirty="0" err="1"/>
              <a:t>mengungkap</a:t>
            </a:r>
            <a:r>
              <a:rPr lang="en-ID" sz="2400" dirty="0"/>
              <a:t> </a:t>
            </a:r>
            <a:r>
              <a:rPr lang="en-ID" sz="2400" dirty="0" err="1"/>
              <a:t>perbedaan</a:t>
            </a:r>
            <a:r>
              <a:rPr lang="en-ID" sz="2400" dirty="0"/>
              <a:t> </a:t>
            </a:r>
            <a:r>
              <a:rPr lang="en-ID" sz="2400" dirty="0" err="1"/>
              <a:t>signifikan</a:t>
            </a:r>
            <a:r>
              <a:rPr lang="en-ID" sz="2400" dirty="0"/>
              <a:t> </a:t>
            </a:r>
            <a:r>
              <a:rPr lang="en-ID" sz="2400" dirty="0" err="1"/>
              <a:t>antara</a:t>
            </a:r>
            <a:r>
              <a:rPr lang="en-ID" sz="2400" dirty="0"/>
              <a:t> </a:t>
            </a:r>
            <a:r>
              <a:rPr lang="en-ID" sz="2400" dirty="0" err="1"/>
              <a:t>ketiga</a:t>
            </a:r>
            <a:r>
              <a:rPr lang="en-ID" sz="2400" dirty="0"/>
              <a:t> </a:t>
            </a:r>
            <a:r>
              <a:rPr lang="en-ID" sz="2400" dirty="0" err="1"/>
              <a:t>saluran</a:t>
            </a:r>
            <a:r>
              <a:rPr lang="en-ID" sz="2400" dirty="0"/>
              <a:t> </a:t>
            </a:r>
            <a:r>
              <a:rPr lang="en-ID" sz="2400" dirty="0" err="1"/>
              <a:t>tersebut</a:t>
            </a:r>
            <a:r>
              <a:rPr lang="en-ID" sz="2400" dirty="0"/>
              <a:t> dan </a:t>
            </a:r>
            <a:r>
              <a:rPr lang="en-ID" sz="2400" dirty="0" err="1"/>
              <a:t>mengidentifikasi</a:t>
            </a:r>
            <a:r>
              <a:rPr lang="en-ID" sz="2400" dirty="0"/>
              <a:t> strategi </a:t>
            </a:r>
            <a:r>
              <a:rPr lang="en-ID" sz="2400" dirty="0" err="1"/>
              <a:t>pemasaran</a:t>
            </a:r>
            <a:r>
              <a:rPr lang="en-ID" sz="2400" dirty="0"/>
              <a:t> yang </a:t>
            </a:r>
            <a:r>
              <a:rPr lang="en-ID" sz="2400" dirty="0" err="1"/>
              <a:t>efektif</a:t>
            </a:r>
            <a:r>
              <a:rPr lang="en-ID" sz="2400" dirty="0"/>
              <a:t> </a:t>
            </a:r>
            <a:r>
              <a:rPr lang="en-ID" sz="2400" dirty="0" err="1"/>
              <a:t>untuk</a:t>
            </a:r>
            <a:r>
              <a:rPr lang="en-ID" sz="2400" dirty="0"/>
              <a:t> masing-masing </a:t>
            </a:r>
            <a:r>
              <a:rPr lang="en-ID" sz="2400" dirty="0" err="1"/>
              <a:t>saluran</a:t>
            </a:r>
            <a:r>
              <a:rPr lang="en-ID" sz="2400" dirty="0"/>
              <a:t>.</a:t>
            </a:r>
            <a:endParaRPr lang="en-US" sz="2400" dirty="0"/>
          </a:p>
        </p:txBody>
      </p:sp>
      <p:pic>
        <p:nvPicPr>
          <p:cNvPr id="5" name="Picture 4">
            <a:extLst>
              <a:ext uri="{FF2B5EF4-FFF2-40B4-BE49-F238E27FC236}">
                <a16:creationId xmlns:a16="http://schemas.microsoft.com/office/drawing/2014/main" id="{874DE713-F41F-43EF-5ADF-61A37C77AA0C}"/>
              </a:ext>
            </a:extLst>
          </p:cNvPr>
          <p:cNvPicPr>
            <a:picLocks noChangeAspect="1"/>
          </p:cNvPicPr>
          <p:nvPr/>
        </p:nvPicPr>
        <p:blipFill>
          <a:blip r:embed="rId3"/>
          <a:stretch>
            <a:fillRect/>
          </a:stretch>
        </p:blipFill>
        <p:spPr>
          <a:xfrm>
            <a:off x="1028697" y="5229717"/>
            <a:ext cx="16230600" cy="472336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2397920" y="2041863"/>
            <a:ext cx="6431756"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ea typeface="+mn-ea"/>
                <a:cs typeface="+mn-cs"/>
              </a:rPr>
              <a:t>Frekuensi</a:t>
            </a:r>
            <a:r>
              <a:rPr lang="en-AU" sz="2400" b="1" kern="1200" dirty="0">
                <a:ea typeface="+mn-ea"/>
                <a:cs typeface="+mn-cs"/>
              </a:rPr>
              <a:t> </a:t>
            </a:r>
            <a:r>
              <a:rPr lang="en-AU" sz="2400" b="1" kern="1200" dirty="0" err="1">
                <a:ea typeface="+mn-ea"/>
                <a:cs typeface="+mn-cs"/>
              </a:rPr>
              <a:t>pembelian</a:t>
            </a:r>
            <a:r>
              <a:rPr lang="en-AU" sz="2400" b="1" kern="1200" dirty="0">
                <a:ea typeface="+mn-ea"/>
                <a:cs typeface="+mn-cs"/>
              </a:rPr>
              <a:t> yang </a:t>
            </a:r>
            <a:r>
              <a:rPr lang="en-AU" sz="2400" b="1" kern="1200" dirty="0" err="1">
                <a:ea typeface="+mn-ea"/>
                <a:cs typeface="+mn-cs"/>
              </a:rPr>
              <a:t>merata</a:t>
            </a:r>
            <a:r>
              <a:rPr lang="en-AU" sz="2400" b="1" kern="1200" dirty="0">
                <a:ea typeface="+mn-ea"/>
                <a:cs typeface="+mn-cs"/>
              </a:rPr>
              <a:t> pada </a:t>
            </a:r>
            <a:r>
              <a:rPr lang="en-AU" sz="2400" b="1" kern="1200" dirty="0" err="1">
                <a:ea typeface="+mn-ea"/>
                <a:cs typeface="+mn-cs"/>
              </a:rPr>
              <a:t>Kanal</a:t>
            </a:r>
            <a:r>
              <a:rPr lang="en-AU" sz="2400" b="1" kern="1200" dirty="0">
                <a:ea typeface="+mn-ea"/>
                <a:cs typeface="+mn-cs"/>
              </a:rPr>
              <a:t> Web.</a:t>
            </a:r>
            <a:endParaRPr lang="en-AU" sz="24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411194"/>
            <a:ext cx="7053262" cy="64633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apat</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impul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ahwa</a:t>
            </a:r>
            <a:r>
              <a:rPr lang="en-AU" sz="24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9720262" y="3057525"/>
            <a:ext cx="7492723" cy="7089225"/>
          </a:xfrm>
          <a:prstGeom prst="rect">
            <a:avLst/>
          </a:prstGeom>
          <a:noFill/>
          <a:ln w="9525" algn="ctr">
            <a:noFill/>
            <a:miter lim="800000"/>
            <a:headEnd type="none" w="lg" len="lg"/>
            <a:tailEnd type="none" w="lg" len="lg"/>
          </a:ln>
          <a:effectLst/>
        </p:spPr>
        <p:txBody>
          <a:bodyPr tIns="137160" bIns="137160"/>
          <a:lstStyle/>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ampa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ominasi</a:t>
            </a:r>
            <a:r>
              <a:rPr lang="en-ID" sz="2000" b="0" i="0" dirty="0">
                <a:solidFill>
                  <a:srgbClr val="212121"/>
                </a:solidFill>
                <a:effectLst/>
                <a:highlight>
                  <a:srgbClr val="FFFFFF"/>
                </a:highlight>
                <a:latin typeface="Roboto" panose="02000000000000000000" pitchFamily="2" charset="0"/>
              </a:rPr>
              <a:t> pada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end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hususnya</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sekitar</a:t>
            </a:r>
            <a:r>
              <a:rPr lang="en-ID" sz="2000" b="0" i="0" dirty="0">
                <a:solidFill>
                  <a:srgbClr val="212121"/>
                </a:solidFill>
                <a:effectLst/>
                <a:highlight>
                  <a:srgbClr val="FFFFFF"/>
                </a:highlight>
                <a:latin typeface="Roboto" panose="02000000000000000000" pitchFamily="2" charset="0"/>
              </a:rPr>
              <a:t> 0 </a:t>
            </a:r>
            <a:r>
              <a:rPr lang="en-ID" sz="2000" b="0" i="0" dirty="0" err="1">
                <a:solidFill>
                  <a:srgbClr val="212121"/>
                </a:solidFill>
                <a:effectLst/>
                <a:highlight>
                  <a:srgbClr val="FFFFFF"/>
                </a:highlight>
                <a:latin typeface="Roboto" panose="02000000000000000000" pitchFamily="2" charset="0"/>
              </a:rPr>
              <a:t>hingga</a:t>
            </a:r>
            <a:r>
              <a:rPr lang="en-ID" sz="2000" b="0" i="0" dirty="0">
                <a:solidFill>
                  <a:srgbClr val="212121"/>
                </a:solidFill>
                <a:effectLst/>
                <a:highlight>
                  <a:srgbClr val="FFFFFF"/>
                </a:highlight>
                <a:latin typeface="Roboto" panose="02000000000000000000" pitchFamily="2" charset="0"/>
              </a:rPr>
              <a:t> 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ain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t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endah</a:t>
            </a:r>
            <a:r>
              <a:rPr lang="en-ID" sz="2000" b="0" i="0" dirty="0">
                <a:solidFill>
                  <a:srgbClr val="212121"/>
                </a:solidFill>
                <a:effectLst/>
                <a:highlight>
                  <a:srgbClr val="FFFFFF"/>
                </a:highlight>
                <a:latin typeface="Roboto" panose="02000000000000000000" pitchFamily="2" charset="0"/>
              </a:rPr>
              <a:t>.</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Setia pada Store: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d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ingkat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freku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ggunaan</a:t>
            </a:r>
            <a:r>
              <a:rPr lang="en-ID" sz="2000" b="0" i="0" dirty="0">
                <a:solidFill>
                  <a:srgbClr val="212121"/>
                </a:solidFill>
                <a:effectLst/>
                <a:highlight>
                  <a:srgbClr val="FFFFFF"/>
                </a:highlight>
                <a:latin typeface="Roboto" panose="02000000000000000000" pitchFamily="2" charset="0"/>
              </a:rPr>
              <a:t> Store </a:t>
            </a:r>
            <a:r>
              <a:rPr lang="en-ID" sz="2000" b="0" i="0" dirty="0" err="1">
                <a:solidFill>
                  <a:srgbClr val="212121"/>
                </a:solidFill>
                <a:effectLst/>
                <a:highlight>
                  <a:srgbClr val="FFFFFF"/>
                </a:highlight>
                <a:latin typeface="Roboto" panose="02000000000000000000" pitchFamily="2" charset="0"/>
              </a:rPr>
              <a:t>se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gindikasi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k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ta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ti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h</a:t>
            </a:r>
            <a:r>
              <a:rPr lang="en-ID" sz="2000" b="0" i="0" dirty="0">
                <a:solidFill>
                  <a:srgbClr val="212121"/>
                </a:solidFill>
                <a:effectLst/>
                <a:highlight>
                  <a:srgbClr val="FFFFFF"/>
                </a:highlight>
                <a:latin typeface="Roboto" panose="02000000000000000000" pitchFamily="2" charset="0"/>
              </a:rPr>
              <a:t> Store.</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a:solidFill>
                  <a:srgbClr val="212121"/>
                </a:solidFill>
                <a:effectLst/>
                <a:highlight>
                  <a:srgbClr val="FFFFFF"/>
                </a:highlight>
                <a:latin typeface="Roboto" panose="02000000000000000000" pitchFamily="2" charset="0"/>
              </a:rPr>
              <a:t>Web </a:t>
            </a:r>
            <a:r>
              <a:rPr lang="en-ID" sz="2000" b="0" i="0" dirty="0" err="1">
                <a:solidFill>
                  <a:srgbClr val="212121"/>
                </a:solidFill>
                <a:effectLst/>
                <a:highlight>
                  <a:srgbClr val="FFFFFF"/>
                </a:highlight>
                <a:latin typeface="Roboto" panose="02000000000000000000" pitchFamily="2" charset="0"/>
              </a:rPr>
              <a:t>se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ili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Umu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memilik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stribusi</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at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dan Store.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diguna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car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isten</a:t>
            </a:r>
            <a:r>
              <a:rPr lang="en-ID" sz="2000" b="0" i="0" dirty="0">
                <a:solidFill>
                  <a:srgbClr val="212121"/>
                </a:solidFill>
                <a:effectLst/>
                <a:highlight>
                  <a:srgbClr val="FFFFFF"/>
                </a:highlight>
                <a:latin typeface="Roboto" panose="02000000000000000000" pitchFamily="2" charset="0"/>
              </a:rPr>
              <a:t> oleh </a:t>
            </a:r>
            <a:r>
              <a:rPr lang="en-ID" sz="2000" b="0" i="0" dirty="0" err="1">
                <a:solidFill>
                  <a:srgbClr val="212121"/>
                </a:solidFill>
                <a:effectLst/>
                <a:highlight>
                  <a:srgbClr val="FFFFFF"/>
                </a:highlight>
                <a:latin typeface="Roboto" panose="02000000000000000000" pitchFamily="2" charset="0"/>
              </a:rPr>
              <a:t>ber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enis</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ik</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diki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upu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nyak</a:t>
            </a:r>
            <a:r>
              <a:rPr lang="en-ID" sz="2000" b="0" i="0" dirty="0">
                <a:solidFill>
                  <a:srgbClr val="212121"/>
                </a:solidFill>
                <a:effectLst/>
                <a:highlight>
                  <a:srgbClr val="FFFFFF"/>
                </a:highlight>
                <a:latin typeface="Roboto" panose="02000000000000000000" pitchFamily="2" charset="0"/>
              </a:rPr>
              <a:t>.</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Freku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Tinggi: Pada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sangat </a:t>
            </a:r>
            <a:r>
              <a:rPr lang="en-ID" sz="2000" b="0" i="0" dirty="0" err="1">
                <a:solidFill>
                  <a:srgbClr val="212121"/>
                </a:solidFill>
                <a:effectLst/>
                <a:highlight>
                  <a:srgbClr val="FFFFFF"/>
                </a:highlight>
                <a:latin typeface="Roboto" panose="02000000000000000000" pitchFamily="2" charset="0"/>
              </a:rPr>
              <a:t>tinggi</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atas</a:t>
            </a:r>
            <a:r>
              <a:rPr lang="en-ID" sz="2000" b="0" i="0" dirty="0">
                <a:solidFill>
                  <a:srgbClr val="212121"/>
                </a:solidFill>
                <a:effectLst/>
                <a:highlight>
                  <a:srgbClr val="FFFFFF"/>
                </a:highlight>
                <a:latin typeface="Roboto" panose="02000000000000000000" pitchFamily="2" charset="0"/>
              </a:rPr>
              <a:t> 1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Store </a:t>
            </a:r>
            <a:r>
              <a:rPr lang="en-ID" sz="2000" b="0" i="0" dirty="0" err="1">
                <a:solidFill>
                  <a:srgbClr val="212121"/>
                </a:solidFill>
                <a:effectLst/>
                <a:highlight>
                  <a:srgbClr val="FFFFFF"/>
                </a:highlight>
                <a:latin typeface="Roboto" panose="02000000000000000000" pitchFamily="2" charset="0"/>
              </a:rPr>
              <a:t>menjad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omin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sangat </a:t>
            </a:r>
            <a:r>
              <a:rPr lang="en-ID" sz="2000" b="0" i="0" dirty="0" err="1">
                <a:solidFill>
                  <a:srgbClr val="212121"/>
                </a:solidFill>
                <a:effectLst/>
                <a:highlight>
                  <a:srgbClr val="FFFFFF"/>
                </a:highlight>
                <a:latin typeface="Roboto" panose="02000000000000000000" pitchFamily="2" charset="0"/>
              </a:rPr>
              <a:t>ak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a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Store.</a:t>
            </a:r>
          </a:p>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dirty="0" err="1">
                <a:highlight>
                  <a:srgbClr val="FFFFFF"/>
                </a:highlight>
              </a:rPr>
              <a:t>K</a:t>
            </a:r>
            <a:r>
              <a:rPr lang="en-ID" sz="2400" b="1" i="0" dirty="0" err="1">
                <a:effectLst/>
                <a:highlight>
                  <a:srgbClr val="FFFFFF"/>
                </a:highlight>
              </a:rPr>
              <a:t>ecenderungan</a:t>
            </a:r>
            <a:r>
              <a:rPr lang="en-ID" sz="2400" b="1" i="0" dirty="0">
                <a:effectLst/>
                <a:highlight>
                  <a:srgbClr val="FFFFFF"/>
                </a:highlight>
              </a:rPr>
              <a:t> </a:t>
            </a:r>
            <a:r>
              <a:rPr lang="en-ID" sz="2400" b="1" i="0" dirty="0" err="1">
                <a:effectLst/>
                <a:highlight>
                  <a:srgbClr val="FFFFFF"/>
                </a:highlight>
              </a:rPr>
              <a:t>bagi</a:t>
            </a:r>
            <a:r>
              <a:rPr lang="en-ID" sz="2400" b="1" i="0" dirty="0">
                <a:effectLst/>
                <a:highlight>
                  <a:srgbClr val="FFFFFF"/>
                </a:highlight>
              </a:rPr>
              <a:t> </a:t>
            </a:r>
            <a:r>
              <a:rPr lang="en-ID" sz="2400" b="1" i="0" dirty="0" err="1">
                <a:effectLst/>
                <a:highlight>
                  <a:srgbClr val="FFFFFF"/>
                </a:highlight>
              </a:rPr>
              <a:t>pelanggan</a:t>
            </a:r>
            <a:r>
              <a:rPr lang="en-ID" sz="2400" b="1" i="0" dirty="0">
                <a:effectLst/>
                <a:highlight>
                  <a:srgbClr val="FFFFFF"/>
                </a:highlight>
              </a:rPr>
              <a:t> </a:t>
            </a:r>
            <a:r>
              <a:rPr lang="en-ID" sz="2400" b="1" i="0" dirty="0" err="1">
                <a:effectLst/>
                <a:highlight>
                  <a:srgbClr val="FFFFFF"/>
                </a:highlight>
              </a:rPr>
              <a:t>untuk</a:t>
            </a:r>
            <a:r>
              <a:rPr lang="en-ID" sz="2400" b="1" i="0" dirty="0">
                <a:effectLst/>
                <a:highlight>
                  <a:srgbClr val="FFFFFF"/>
                </a:highlight>
              </a:rPr>
              <a:t> </a:t>
            </a:r>
            <a:r>
              <a:rPr lang="en-ID" sz="2400" b="1" i="0" dirty="0" err="1">
                <a:effectLst/>
                <a:highlight>
                  <a:srgbClr val="FFFFFF"/>
                </a:highlight>
              </a:rPr>
              <a:t>lebih</a:t>
            </a:r>
            <a:r>
              <a:rPr lang="en-ID" sz="2400" b="1" i="0" dirty="0">
                <a:effectLst/>
                <a:highlight>
                  <a:srgbClr val="FFFFFF"/>
                </a:highlight>
              </a:rPr>
              <a:t> </a:t>
            </a:r>
            <a:r>
              <a:rPr lang="en-ID" sz="2400" b="1" i="0" dirty="0" err="1">
                <a:effectLst/>
                <a:highlight>
                  <a:srgbClr val="FFFFFF"/>
                </a:highlight>
              </a:rPr>
              <a:t>sering</a:t>
            </a:r>
            <a:r>
              <a:rPr lang="en-ID" sz="2400" b="1" i="0" dirty="0">
                <a:effectLst/>
                <a:highlight>
                  <a:srgbClr val="FFFFFF"/>
                </a:highlight>
              </a:rPr>
              <a:t> </a:t>
            </a:r>
            <a:r>
              <a:rPr lang="en-ID" sz="2400" b="1" i="0" dirty="0" err="1">
                <a:effectLst/>
                <a:highlight>
                  <a:srgbClr val="FFFFFF"/>
                </a:highlight>
              </a:rPr>
              <a:t>memilih</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a:t>
            </a:r>
            <a:r>
              <a:rPr lang="en-ID" sz="2400" b="1" i="0" dirty="0" err="1">
                <a:effectLst/>
                <a:highlight>
                  <a:srgbClr val="FFFFFF"/>
                </a:highlight>
              </a:rPr>
              <a:t>Catalog</a:t>
            </a:r>
            <a:r>
              <a:rPr lang="en-ID" sz="2400" b="1" i="0" dirty="0">
                <a:effectLst/>
                <a:highlight>
                  <a:srgbClr val="FFFFFF"/>
                </a:highlight>
              </a:rPr>
              <a:t> </a:t>
            </a:r>
            <a:r>
              <a:rPr lang="en-ID" sz="2400" b="1" i="0" dirty="0" err="1">
                <a:effectLst/>
                <a:highlight>
                  <a:srgbClr val="FFFFFF"/>
                </a:highlight>
              </a:rPr>
              <a:t>ketika</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 </a:t>
            </a:r>
            <a:r>
              <a:rPr lang="en-ID" sz="2400" b="1" i="0" dirty="0" err="1">
                <a:effectLst/>
                <a:highlight>
                  <a:srgbClr val="FFFFFF"/>
                </a:highlight>
              </a:rPr>
              <a:t>mereka</a:t>
            </a:r>
            <a:r>
              <a:rPr lang="en-ID" sz="2400" b="1" i="0" dirty="0">
                <a:effectLst/>
                <a:highlight>
                  <a:srgbClr val="FFFFFF"/>
                </a:highlight>
              </a:rPr>
              <a:t> </a:t>
            </a:r>
            <a:r>
              <a:rPr lang="en-ID" sz="2400" b="1" i="0" dirty="0" err="1">
                <a:effectLst/>
                <a:highlight>
                  <a:srgbClr val="FFFFFF"/>
                </a:highlight>
              </a:rPr>
              <a:t>sedikit</a:t>
            </a:r>
            <a:r>
              <a:rPr lang="en-ID" sz="2400" b="1" i="0" dirty="0">
                <a:effectLst/>
                <a:highlight>
                  <a:srgbClr val="FFFFFF"/>
                </a:highlight>
              </a:rPr>
              <a:t>, dan </a:t>
            </a:r>
            <a:r>
              <a:rPr lang="en-ID" sz="2400" b="1" i="0" dirty="0" err="1">
                <a:effectLst/>
                <a:highlight>
                  <a:srgbClr val="FFFFFF"/>
                </a:highlight>
              </a:rPr>
              <a:t>beralih</a:t>
            </a:r>
            <a:r>
              <a:rPr lang="en-ID" sz="2400" b="1" i="0" dirty="0">
                <a:effectLst/>
                <a:highlight>
                  <a:srgbClr val="FFFFFF"/>
                </a:highlight>
              </a:rPr>
              <a:t> </a:t>
            </a:r>
            <a:r>
              <a:rPr lang="en-ID" sz="2400" b="1" i="0" dirty="0" err="1">
                <a:effectLst/>
                <a:highlight>
                  <a:srgbClr val="FFFFFF"/>
                </a:highlight>
              </a:rPr>
              <a:t>ke</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Store </a:t>
            </a:r>
            <a:r>
              <a:rPr lang="en-ID" sz="2400" b="1" i="0" dirty="0" err="1">
                <a:effectLst/>
                <a:highlight>
                  <a:srgbClr val="FFFFFF"/>
                </a:highlight>
              </a:rPr>
              <a:t>ketika</a:t>
            </a:r>
            <a:r>
              <a:rPr lang="en-ID" sz="2400" b="1" i="0" dirty="0">
                <a:effectLst/>
                <a:highlight>
                  <a:srgbClr val="FFFFFF"/>
                </a:highlight>
              </a:rPr>
              <a:t> </a:t>
            </a:r>
            <a:r>
              <a:rPr lang="en-ID" sz="2400" b="1" i="0" dirty="0" err="1">
                <a:effectLst/>
                <a:highlight>
                  <a:srgbClr val="FFFFFF"/>
                </a:highlight>
              </a:rPr>
              <a:t>mereka</a:t>
            </a:r>
            <a:r>
              <a:rPr lang="en-ID" sz="2400" b="1" i="0" dirty="0">
                <a:effectLst/>
                <a:highlight>
                  <a:srgbClr val="FFFFFF"/>
                </a:highlight>
              </a:rPr>
              <a:t> </a:t>
            </a:r>
            <a:r>
              <a:rPr lang="en-ID" sz="2400" b="1" i="0" dirty="0" err="1">
                <a:effectLst/>
                <a:highlight>
                  <a:srgbClr val="FFFFFF"/>
                </a:highlight>
              </a:rPr>
              <a:t>melakukan</a:t>
            </a:r>
            <a:r>
              <a:rPr lang="en-ID" sz="2400" b="1" i="0" dirty="0">
                <a:effectLst/>
                <a:highlight>
                  <a:srgbClr val="FFFFFF"/>
                </a:highlight>
              </a:rPr>
              <a:t> </a:t>
            </a:r>
            <a:r>
              <a:rPr lang="en-ID" sz="2400" b="1" i="0" dirty="0" err="1">
                <a:effectLst/>
                <a:highlight>
                  <a:srgbClr val="FFFFFF"/>
                </a:highlight>
              </a:rPr>
              <a:t>lebih</a:t>
            </a:r>
            <a:r>
              <a:rPr lang="en-ID" sz="2400" b="1" i="0" dirty="0">
                <a:effectLst/>
                <a:highlight>
                  <a:srgbClr val="FFFFFF"/>
                </a:highlight>
              </a:rPr>
              <a:t> </a:t>
            </a:r>
            <a:r>
              <a:rPr lang="en-ID" sz="2400" b="1" i="0" dirty="0" err="1">
                <a:effectLst/>
                <a:highlight>
                  <a:srgbClr val="FFFFFF"/>
                </a:highlight>
              </a:rPr>
              <a:t>banyak</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Web </a:t>
            </a:r>
            <a:r>
              <a:rPr lang="en-ID" sz="2400" b="1" i="0" dirty="0" err="1">
                <a:effectLst/>
                <a:highlight>
                  <a:srgbClr val="FFFFFF"/>
                </a:highlight>
              </a:rPr>
              <a:t>digunakan</a:t>
            </a:r>
            <a:r>
              <a:rPr lang="en-ID" sz="2400" b="1" i="0" dirty="0">
                <a:effectLst/>
                <a:highlight>
                  <a:srgbClr val="FFFFFF"/>
                </a:highlight>
              </a:rPr>
              <a:t> </a:t>
            </a:r>
            <a:r>
              <a:rPr lang="en-ID" sz="2400" b="1" i="0" dirty="0" err="1">
                <a:effectLst/>
                <a:highlight>
                  <a:srgbClr val="FFFFFF"/>
                </a:highlight>
              </a:rPr>
              <a:t>secara</a:t>
            </a:r>
            <a:r>
              <a:rPr lang="en-ID" sz="2400" b="1" i="0" dirty="0">
                <a:effectLst/>
                <a:highlight>
                  <a:srgbClr val="FFFFFF"/>
                </a:highlight>
              </a:rPr>
              <a:t> </a:t>
            </a:r>
            <a:r>
              <a:rPr lang="en-ID" sz="2400" b="1" i="0" dirty="0" err="1">
                <a:effectLst/>
                <a:highlight>
                  <a:srgbClr val="FFFFFF"/>
                </a:highlight>
              </a:rPr>
              <a:t>merata</a:t>
            </a:r>
            <a:r>
              <a:rPr lang="en-ID" sz="2400" b="1" i="0" dirty="0">
                <a:effectLst/>
                <a:highlight>
                  <a:srgbClr val="FFFFFF"/>
                </a:highlight>
              </a:rPr>
              <a:t> di </a:t>
            </a:r>
            <a:r>
              <a:rPr lang="en-ID" sz="2400" b="1" i="0" dirty="0" err="1">
                <a:effectLst/>
                <a:highlight>
                  <a:srgbClr val="FFFFFF"/>
                </a:highlight>
              </a:rPr>
              <a:t>berbagai</a:t>
            </a:r>
            <a:r>
              <a:rPr lang="en-ID" sz="2400" b="1" i="0" dirty="0">
                <a:effectLst/>
                <a:highlight>
                  <a:srgbClr val="FFFFFF"/>
                </a:highlight>
              </a:rPr>
              <a:t> </a:t>
            </a:r>
            <a:r>
              <a:rPr lang="en-ID" sz="2400" b="1" i="0" dirty="0" err="1">
                <a:effectLst/>
                <a:highlight>
                  <a:srgbClr val="FFFFFF"/>
                </a:highlight>
              </a:rPr>
              <a:t>tingkat</a:t>
            </a:r>
            <a:r>
              <a:rPr lang="en-ID" sz="2400" b="1" i="0" dirty="0">
                <a:effectLst/>
                <a:highlight>
                  <a:srgbClr val="FFFFFF"/>
                </a:highlight>
              </a:rPr>
              <a:t> </a:t>
            </a:r>
            <a:r>
              <a:rPr lang="en-ID" sz="2400" b="1" i="0" dirty="0" err="1">
                <a:effectLst/>
                <a:highlight>
                  <a:srgbClr val="FFFFFF"/>
                </a:highlight>
              </a:rPr>
              <a:t>frekuensi</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pic>
        <p:nvPicPr>
          <p:cNvPr id="1028" name="Picture 4">
            <a:extLst>
              <a:ext uri="{FF2B5EF4-FFF2-40B4-BE49-F238E27FC236}">
                <a16:creationId xmlns:a16="http://schemas.microsoft.com/office/drawing/2014/main" id="{D540B1C6-9690-2B32-8865-AF19030773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6027" y="3442060"/>
            <a:ext cx="7492723" cy="58779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kecenderung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a:t>
            </a:r>
            <a:r>
              <a:rPr lang="en-AU" sz="1500" b="1" i="1" dirty="0" err="1">
                <a:latin typeface="Arial" pitchFamily="34" charset="0"/>
                <a:cs typeface="Arial" pitchFamily="34" charset="0"/>
              </a:rPr>
              <a:t>untuk</a:t>
            </a:r>
            <a:r>
              <a:rPr lang="en-AU" sz="1500" b="1" i="1" dirty="0">
                <a:latin typeface="Arial" pitchFamily="34" charset="0"/>
                <a:cs typeface="Arial" pitchFamily="34" charset="0"/>
              </a:rPr>
              <a:t>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sering</a:t>
            </a:r>
            <a:r>
              <a:rPr lang="en-AU" sz="1500" b="1" i="1" dirty="0">
                <a:latin typeface="Arial" pitchFamily="34" charset="0"/>
                <a:cs typeface="Arial" pitchFamily="34" charset="0"/>
              </a:rPr>
              <a:t> </a:t>
            </a:r>
            <a:r>
              <a:rPr lang="en-AU" sz="1500" b="1" i="1" dirty="0" err="1">
                <a:latin typeface="Arial" pitchFamily="34" charset="0"/>
                <a:cs typeface="Arial" pitchFamily="34" charset="0"/>
              </a:rPr>
              <a:t>membeli</a:t>
            </a:r>
            <a:r>
              <a:rPr lang="en-AU" sz="1500" b="1" i="1" dirty="0">
                <a:latin typeface="Arial" pitchFamily="34" charset="0"/>
                <a:cs typeface="Arial" pitchFamily="34" charset="0"/>
              </a:rPr>
              <a:t> </a:t>
            </a:r>
            <a:r>
              <a:rPr lang="en-AU" sz="1500" b="1" i="1" dirty="0" err="1">
                <a:latin typeface="Arial" pitchFamily="34" charset="0"/>
                <a:cs typeface="Arial" pitchFamily="34" charset="0"/>
              </a:rPr>
              <a:t>melalui</a:t>
            </a:r>
            <a:r>
              <a:rPr lang="en-AU" sz="1500" b="1" i="1" dirty="0">
                <a:latin typeface="Arial" pitchFamily="34" charset="0"/>
                <a:cs typeface="Arial" pitchFamily="34" charset="0"/>
              </a:rPr>
              <a:t> </a:t>
            </a:r>
            <a:r>
              <a:rPr lang="en-AU" sz="1500" b="1" i="1" dirty="0" err="1">
                <a:latin typeface="Arial" pitchFamily="34" charset="0"/>
                <a:cs typeface="Arial" pitchFamily="34" charset="0"/>
              </a:rPr>
              <a:t>satu</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tertentu</a:t>
            </a:r>
            <a:r>
              <a:rPr lang="en-AU" sz="1500" b="1" i="1" dirty="0">
                <a:latin typeface="Arial" pitchFamily="34" charset="0"/>
                <a:cs typeface="Arial" pitchFamily="34" charset="0"/>
              </a:rPr>
              <a:t> </a:t>
            </a:r>
            <a:r>
              <a:rPr lang="en-AU" sz="1500" b="1" i="1" dirty="0" err="1">
                <a:latin typeface="Arial" pitchFamily="34" charset="0"/>
                <a:cs typeface="Arial" pitchFamily="34" charset="0"/>
              </a:rPr>
              <a:t>dibandingkan</a:t>
            </a:r>
            <a:r>
              <a:rPr lang="en-AU" sz="1500" b="1" i="1" dirty="0">
                <a:latin typeface="Arial" pitchFamily="34" charset="0"/>
                <a:cs typeface="Arial" pitchFamily="34" charset="0"/>
              </a:rPr>
              <a:t> yang lain?</a:t>
            </a:r>
            <a:endParaRPr lang="en-US" sz="1500" b="1" i="1" dirty="0">
              <a:latin typeface="Arial" pitchFamily="34" charset="0"/>
              <a:cs typeface="Arial" pitchFamily="34" charset="0"/>
            </a:endParaRPr>
          </a:p>
        </p:txBody>
      </p:sp>
    </p:spTree>
    <p:extLst>
      <p:ext uri="{BB962C8B-B14F-4D97-AF65-F5344CB8AC3E}">
        <p14:creationId xmlns:p14="http://schemas.microsoft.com/office/powerpoint/2010/main" val="395122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0300" y="242999"/>
            <a:ext cx="13763847" cy="1247400"/>
          </a:xfrm>
          <a:noFill/>
          <a:effectLst/>
        </p:spPr>
        <p:txBody>
          <a:bodyPr wrap="square"/>
          <a:lstStyle/>
          <a:p>
            <a:pPr lvl="0"/>
            <a:r>
              <a:rPr lang="en-ID" sz="2400" i="0" dirty="0" err="1">
                <a:effectLst/>
                <a:highlight>
                  <a:srgbClr val="FFFFFF"/>
                </a:highlight>
              </a:rPr>
              <a:t>Pelanggan</a:t>
            </a:r>
            <a:r>
              <a:rPr lang="en-ID" sz="2400" i="0" dirty="0">
                <a:effectLst/>
                <a:highlight>
                  <a:srgbClr val="FFFFFF"/>
                </a:highlight>
              </a:rPr>
              <a:t> </a:t>
            </a:r>
            <a:r>
              <a:rPr lang="en-ID" sz="2400" i="0" dirty="0" err="1">
                <a:effectLst/>
                <a:highlight>
                  <a:srgbClr val="FFFFFF"/>
                </a:highlight>
              </a:rPr>
              <a:t>cenderung</a:t>
            </a:r>
            <a:r>
              <a:rPr lang="en-ID" sz="2400" i="0" dirty="0">
                <a:effectLst/>
                <a:highlight>
                  <a:srgbClr val="FFFFFF"/>
                </a:highlight>
              </a:rPr>
              <a:t> </a:t>
            </a:r>
            <a:r>
              <a:rPr lang="en-ID" sz="2400" i="0" dirty="0" err="1">
                <a:effectLst/>
                <a:highlight>
                  <a:srgbClr val="FFFFFF"/>
                </a:highlight>
              </a:rPr>
              <a:t>mengeluarkan</a:t>
            </a:r>
            <a:r>
              <a:rPr lang="en-ID" sz="2400" i="0" dirty="0">
                <a:effectLst/>
                <a:highlight>
                  <a:srgbClr val="FFFFFF"/>
                </a:highlight>
              </a:rPr>
              <a:t> uang </a:t>
            </a:r>
            <a:r>
              <a:rPr lang="en-ID" sz="2400" i="0" dirty="0" err="1">
                <a:effectLst/>
                <a:highlight>
                  <a:srgbClr val="FFFFFF"/>
                </a:highlight>
              </a:rPr>
              <a:t>lebih</a:t>
            </a:r>
            <a:r>
              <a:rPr lang="en-ID" sz="2400" i="0" dirty="0">
                <a:effectLst/>
                <a:highlight>
                  <a:srgbClr val="FFFFFF"/>
                </a:highlight>
              </a:rPr>
              <a:t> </a:t>
            </a:r>
            <a:r>
              <a:rPr lang="en-ID" sz="2400" i="0" dirty="0" err="1">
                <a:effectLst/>
                <a:highlight>
                  <a:srgbClr val="FFFFFF"/>
                </a:highlight>
              </a:rPr>
              <a:t>banyak</a:t>
            </a:r>
            <a:r>
              <a:rPr lang="en-ID" sz="2400" i="0" dirty="0">
                <a:effectLst/>
                <a:highlight>
                  <a:srgbClr val="FFFFFF"/>
                </a:highlight>
              </a:rPr>
              <a:t> </a:t>
            </a:r>
            <a:r>
              <a:rPr lang="en-ID" sz="2400" i="0" dirty="0" err="1">
                <a:effectLst/>
                <a:highlight>
                  <a:srgbClr val="FFFFFF"/>
                </a:highlight>
              </a:rPr>
              <a:t>ketika</a:t>
            </a:r>
            <a:r>
              <a:rPr lang="en-ID" sz="2400" i="0" dirty="0">
                <a:effectLst/>
                <a:highlight>
                  <a:srgbClr val="FFFFFF"/>
                </a:highlight>
              </a:rPr>
              <a:t> </a:t>
            </a:r>
            <a:r>
              <a:rPr lang="en-ID" sz="2400" i="0" dirty="0" err="1">
                <a:effectLst/>
                <a:highlight>
                  <a:srgbClr val="FFFFFF"/>
                </a:highlight>
              </a:rPr>
              <a:t>berbelanja</a:t>
            </a:r>
            <a:r>
              <a:rPr lang="en-ID" sz="2400" i="0" dirty="0">
                <a:effectLst/>
                <a:highlight>
                  <a:srgbClr val="FFFFFF"/>
                </a:highlight>
              </a:rPr>
              <a:t> </a:t>
            </a:r>
            <a:r>
              <a:rPr lang="en-ID" sz="2400" i="0" dirty="0" err="1">
                <a:effectLst/>
                <a:highlight>
                  <a:srgbClr val="FFFFFF"/>
                </a:highlight>
              </a:rPr>
              <a:t>melalui</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catalog</a:t>
            </a:r>
            <a:r>
              <a:rPr lang="en-ID" sz="2400" i="0" dirty="0">
                <a:effectLst/>
                <a:highlight>
                  <a:srgbClr val="FFFFFF"/>
                </a:highlight>
              </a:rPr>
              <a:t> </a:t>
            </a:r>
            <a:r>
              <a:rPr lang="en-ID" sz="2400" i="0" dirty="0" err="1">
                <a:effectLst/>
                <a:highlight>
                  <a:srgbClr val="FFFFFF"/>
                </a:highlight>
              </a:rPr>
              <a:t>dibandingk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lainnya</a:t>
            </a:r>
            <a:r>
              <a:rPr lang="en-ID" sz="2400" i="0" dirty="0">
                <a:effectLst/>
                <a:highlight>
                  <a:srgbClr val="FFFFFF"/>
                </a:highlight>
              </a:rPr>
              <a:t>. Rata-rata </a:t>
            </a:r>
            <a:r>
              <a:rPr lang="en-ID" sz="2400" i="0" dirty="0" err="1">
                <a:effectLst/>
                <a:highlight>
                  <a:srgbClr val="FFFFFF"/>
                </a:highlight>
              </a:rPr>
              <a:t>pengeluaran</a:t>
            </a:r>
            <a:r>
              <a:rPr lang="en-ID" sz="2400" i="0" dirty="0">
                <a:effectLst/>
                <a:highlight>
                  <a:srgbClr val="FFFFFF"/>
                </a:highlight>
              </a:rPr>
              <a:t> per </a:t>
            </a:r>
            <a:r>
              <a:rPr lang="en-ID" sz="2400" i="0" dirty="0" err="1">
                <a:effectLst/>
                <a:highlight>
                  <a:srgbClr val="FFFFFF"/>
                </a:highlight>
              </a:rPr>
              <a:t>pembelian</a:t>
            </a:r>
            <a:r>
              <a:rPr lang="en-ID" sz="2400" i="0" dirty="0">
                <a:effectLst/>
                <a:highlight>
                  <a:srgbClr val="FFFFFF"/>
                </a:highlight>
              </a:rPr>
              <a:t> </a:t>
            </a:r>
            <a:r>
              <a:rPr lang="en-ID" sz="2400" i="0" dirty="0" err="1">
                <a:effectLst/>
                <a:highlight>
                  <a:srgbClr val="FFFFFF"/>
                </a:highlight>
              </a:rPr>
              <a:t>melalui</a:t>
            </a:r>
            <a:r>
              <a:rPr lang="en-ID" sz="2400" i="0" dirty="0">
                <a:effectLst/>
                <a:highlight>
                  <a:srgbClr val="FFFFFF"/>
                </a:highlight>
              </a:rPr>
              <a:t> </a:t>
            </a:r>
            <a:r>
              <a:rPr lang="en-ID" sz="2400" dirty="0" err="1">
                <a:highlight>
                  <a:srgbClr val="FFFFFF"/>
                </a:highlight>
              </a:rPr>
              <a:t>C</a:t>
            </a:r>
            <a:r>
              <a:rPr lang="en-ID" sz="2400" i="0" dirty="0" err="1">
                <a:effectLst/>
                <a:highlight>
                  <a:srgbClr val="FFFFFF"/>
                </a:highlight>
              </a:rPr>
              <a:t>atalog</a:t>
            </a:r>
            <a:r>
              <a:rPr lang="en-ID" sz="2400" i="0" dirty="0">
                <a:effectLst/>
                <a:highlight>
                  <a:srgbClr val="FFFFFF"/>
                </a:highlight>
              </a:rPr>
              <a:t> </a:t>
            </a:r>
            <a:r>
              <a:rPr lang="en-ID" sz="2400" i="0" dirty="0" err="1">
                <a:effectLst/>
                <a:highlight>
                  <a:srgbClr val="FFFFFF"/>
                </a:highlight>
              </a:rPr>
              <a:t>jauh</a:t>
            </a:r>
            <a:r>
              <a:rPr lang="en-ID" sz="2400" i="0" dirty="0">
                <a:effectLst/>
                <a:highlight>
                  <a:srgbClr val="FFFFFF"/>
                </a:highlight>
              </a:rPr>
              <a:t> </a:t>
            </a:r>
            <a:r>
              <a:rPr lang="en-ID" sz="2400" i="0" dirty="0" err="1">
                <a:effectLst/>
                <a:highlight>
                  <a:srgbClr val="FFFFFF"/>
                </a:highlight>
              </a:rPr>
              <a:t>lebih</a:t>
            </a:r>
            <a:r>
              <a:rPr lang="en-ID" sz="2400" i="0" dirty="0">
                <a:effectLst/>
                <a:highlight>
                  <a:srgbClr val="FFFFFF"/>
                </a:highlight>
              </a:rPr>
              <a:t> </a:t>
            </a:r>
            <a:r>
              <a:rPr lang="en-ID" sz="2400" i="0" dirty="0" err="1">
                <a:effectLst/>
                <a:highlight>
                  <a:srgbClr val="FFFFFF"/>
                </a:highlight>
              </a:rPr>
              <a:t>tinggi</a:t>
            </a:r>
            <a:r>
              <a:rPr lang="en-ID" sz="2400" i="0" dirty="0">
                <a:effectLst/>
                <a:highlight>
                  <a:srgbClr val="FFFFFF"/>
                </a:highlight>
              </a:rPr>
              <a:t> </a:t>
            </a:r>
            <a:r>
              <a:rPr lang="en-ID" sz="2400" i="0" dirty="0" err="1">
                <a:effectLst/>
                <a:highlight>
                  <a:srgbClr val="FFFFFF"/>
                </a:highlight>
              </a:rPr>
              <a:t>dibandingk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Web dan Store</a:t>
            </a:r>
            <a:r>
              <a:rPr lang="en-ID" sz="2000" i="0" dirty="0">
                <a:effectLst/>
                <a:highlight>
                  <a:srgbClr val="FFFFFF"/>
                </a:highlight>
              </a:rPr>
              <a:t>.</a:t>
            </a:r>
            <a:endParaRPr lang="" sz="2000" dirty="0"/>
          </a:p>
        </p:txBody>
      </p:sp>
      <p:sp>
        <p:nvSpPr>
          <p:cNvPr id="56" name="Rectangle 3"/>
          <p:cNvSpPr>
            <a:spLocks noChangeArrowheads="1"/>
          </p:cNvSpPr>
          <p:nvPr/>
        </p:nvSpPr>
        <p:spPr bwMode="gray">
          <a:xfrm>
            <a:off x="2397920" y="9486901"/>
            <a:ext cx="13492163" cy="492920"/>
          </a:xfrm>
          <a:prstGeom prst="rect">
            <a:avLst/>
          </a:prstGeom>
          <a:noFill/>
          <a:ln w="9525" algn="ctr">
            <a:noFill/>
            <a:miter lim="800000"/>
            <a:headEnd type="none" w="lg" len="lg"/>
            <a:tailEnd type="none" w="lg" len="lg"/>
          </a:ln>
        </p:spPr>
        <p:txBody>
          <a:bodyPr lIns="0" tIns="0" rIns="0" bIns="0" anchor="b"/>
          <a:lstStyle/>
          <a:p>
            <a:pPr lvl="0">
              <a:lnSpc>
                <a:spcPct val="90000"/>
              </a:lnSpc>
            </a:pPr>
            <a:endParaRPr lang="en-AU" sz="1200" dirty="0">
              <a:latin typeface="Arial" pitchFamily="34" charset="0"/>
              <a:cs typeface="Arial" pitchFamily="34" charset="0"/>
            </a:endParaRPr>
          </a:p>
        </p:txBody>
      </p:sp>
      <p:sp>
        <p:nvSpPr>
          <p:cNvPr id="24" name="TextBox 23"/>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rata-rata </a:t>
            </a:r>
            <a:r>
              <a:rPr lang="en-AU" sz="1500" b="1" i="1" dirty="0" err="1">
                <a:latin typeface="Arial" pitchFamily="34" charset="0"/>
                <a:cs typeface="Arial" pitchFamily="34" charset="0"/>
              </a:rPr>
              <a:t>Pengeluaran</a:t>
            </a:r>
            <a:r>
              <a:rPr lang="en-AU" sz="1500" b="1" i="1" dirty="0">
                <a:latin typeface="Arial" pitchFamily="34" charset="0"/>
                <a:cs typeface="Arial" pitchFamily="34" charset="0"/>
              </a:rPr>
              <a:t> per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pada </a:t>
            </a:r>
            <a:r>
              <a:rPr lang="en-AU" sz="1500" b="1" i="1" dirty="0" err="1">
                <a:latin typeface="Arial" pitchFamily="34" charset="0"/>
                <a:cs typeface="Arial" pitchFamily="34" charset="0"/>
              </a:rPr>
              <a:t>setiap</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berbeda</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sp>
        <p:nvSpPr>
          <p:cNvPr id="41" name="Text Placeholder 12"/>
          <p:cNvSpPr>
            <a:spLocks noGrp="1"/>
          </p:cNvSpPr>
          <p:nvPr>
            <p:custDataLst>
              <p:tags r:id="rId1"/>
            </p:custDataLst>
          </p:nvPr>
        </p:nvSpPr>
        <p:spPr bwMode="gray">
          <a:xfrm>
            <a:off x="2526506" y="4371975"/>
            <a:ext cx="707231" cy="2286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500" dirty="0">
              <a:sym typeface="+mn-lt"/>
            </a:endParaRPr>
          </a:p>
        </p:txBody>
      </p:sp>
      <p:sp>
        <p:nvSpPr>
          <p:cNvPr id="72" name="Text Placeholder 12"/>
          <p:cNvSpPr>
            <a:spLocks noGrp="1"/>
          </p:cNvSpPr>
          <p:nvPr>
            <p:custDataLst>
              <p:tags r:id="rId2"/>
            </p:custDataLst>
          </p:nvPr>
        </p:nvSpPr>
        <p:spPr bwMode="gray">
          <a:xfrm>
            <a:off x="9613106" y="4872038"/>
            <a:ext cx="707231" cy="2286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500" dirty="0">
              <a:sym typeface="+mn-lt"/>
            </a:endParaRPr>
          </a:p>
        </p:txBody>
      </p:sp>
      <p:sp>
        <p:nvSpPr>
          <p:cNvPr id="31" name="ColumnHeader"/>
          <p:cNvSpPr>
            <a:spLocks noChangeArrowheads="1"/>
          </p:cNvSpPr>
          <p:nvPr/>
        </p:nvSpPr>
        <p:spPr bwMode="gray">
          <a:xfrm>
            <a:off x="1106017" y="2230252"/>
            <a:ext cx="6169818" cy="181588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137160" bIns="137160" anchor="b">
            <a:spAutoFit/>
          </a:bodyPr>
          <a:lstStyle/>
          <a:p>
            <a:r>
              <a:rPr lang="en-ID" sz="2000" dirty="0" err="1">
                <a:solidFill>
                  <a:srgbClr val="212121"/>
                </a:solidFill>
                <a:highlight>
                  <a:srgbClr val="FFFFFF"/>
                </a:highlight>
                <a:latin typeface="Roboto" panose="02000000000000000000" pitchFamily="2" charset="0"/>
              </a:rPr>
              <a:t>T</a:t>
            </a:r>
            <a:r>
              <a:rPr lang="en-ID" sz="2000" i="0" dirty="0" err="1">
                <a:solidFill>
                  <a:srgbClr val="212121"/>
                </a:solidFill>
                <a:effectLst/>
                <a:highlight>
                  <a:srgbClr val="FFFFFF"/>
                </a:highlight>
                <a:latin typeface="Roboto" panose="02000000000000000000" pitchFamily="2" charset="0"/>
              </a:rPr>
              <a:t>erdapat</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perbedaan</a:t>
            </a:r>
            <a:r>
              <a:rPr lang="en-ID" sz="2000" i="0" dirty="0">
                <a:solidFill>
                  <a:srgbClr val="212121"/>
                </a:solidFill>
                <a:effectLst/>
                <a:highlight>
                  <a:srgbClr val="FFFFFF"/>
                </a:highlight>
                <a:latin typeface="Roboto" panose="02000000000000000000" pitchFamily="2" charset="0"/>
              </a:rPr>
              <a:t> rata-rata </a:t>
            </a:r>
            <a:r>
              <a:rPr lang="en-ID" sz="2000" i="0" dirty="0" err="1">
                <a:solidFill>
                  <a:srgbClr val="212121"/>
                </a:solidFill>
                <a:effectLst/>
                <a:highlight>
                  <a:srgbClr val="FFFFFF"/>
                </a:highlight>
                <a:latin typeface="Roboto" panose="02000000000000000000" pitchFamily="2" charset="0"/>
              </a:rPr>
              <a:t>pengeluaran</a:t>
            </a:r>
            <a:r>
              <a:rPr lang="en-ID" sz="2000" i="0" dirty="0">
                <a:solidFill>
                  <a:srgbClr val="212121"/>
                </a:solidFill>
                <a:effectLst/>
                <a:highlight>
                  <a:srgbClr val="FFFFFF"/>
                </a:highlight>
                <a:latin typeface="Roboto" panose="02000000000000000000" pitchFamily="2" charset="0"/>
              </a:rPr>
              <a:t> per </a:t>
            </a:r>
            <a:r>
              <a:rPr lang="en-ID" sz="2000" i="0" dirty="0" err="1">
                <a:solidFill>
                  <a:srgbClr val="212121"/>
                </a:solidFill>
                <a:effectLst/>
                <a:highlight>
                  <a:srgbClr val="FFFFFF"/>
                </a:highlight>
                <a:latin typeface="Roboto" panose="02000000000000000000" pitchFamily="2" charset="0"/>
              </a:rPr>
              <a:t>pembelian</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dimana</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Catalog</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memiliki</a:t>
            </a:r>
            <a:r>
              <a:rPr lang="en-ID" sz="2000" i="0" dirty="0">
                <a:solidFill>
                  <a:srgbClr val="212121"/>
                </a:solidFill>
                <a:effectLst/>
                <a:highlight>
                  <a:srgbClr val="FFFFFF"/>
                </a:highlight>
                <a:latin typeface="Roboto" panose="02000000000000000000" pitchFamily="2" charset="0"/>
              </a:rPr>
              <a:t> rata-rata </a:t>
            </a:r>
            <a:r>
              <a:rPr lang="en-ID" sz="2000" i="0" dirty="0" err="1">
                <a:solidFill>
                  <a:srgbClr val="212121"/>
                </a:solidFill>
                <a:effectLst/>
                <a:highlight>
                  <a:srgbClr val="FFFFFF"/>
                </a:highlight>
                <a:latin typeface="Roboto" panose="02000000000000000000" pitchFamily="2" charset="0"/>
              </a:rPr>
              <a:t>terbesar</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yaitu</a:t>
            </a:r>
            <a:r>
              <a:rPr lang="en-ID" sz="2000" i="0" dirty="0">
                <a:solidFill>
                  <a:srgbClr val="212121"/>
                </a:solidFill>
                <a:effectLst/>
                <a:highlight>
                  <a:srgbClr val="FFFFFF"/>
                </a:highlight>
                <a:latin typeface="Roboto" panose="02000000000000000000" pitchFamily="2" charset="0"/>
              </a:rPr>
              <a:t> 1.103,79, </a:t>
            </a:r>
            <a:r>
              <a:rPr lang="en-ID" sz="2000" i="0" dirty="0" err="1">
                <a:solidFill>
                  <a:srgbClr val="212121"/>
                </a:solidFill>
                <a:effectLst/>
                <a:highlight>
                  <a:srgbClr val="FFFFFF"/>
                </a:highlight>
                <a:latin typeface="Roboto" panose="02000000000000000000" pitchFamily="2" charset="0"/>
              </a:rPr>
              <a:t>disusul</a:t>
            </a:r>
            <a:r>
              <a:rPr lang="en-ID" sz="2000" i="0" dirty="0">
                <a:solidFill>
                  <a:srgbClr val="212121"/>
                </a:solidFill>
                <a:effectLst/>
                <a:highlight>
                  <a:srgbClr val="FFFFFF"/>
                </a:highlight>
                <a:latin typeface="Roboto" panose="02000000000000000000" pitchFamily="2" charset="0"/>
              </a:rPr>
              <a:t> oleh Store </a:t>
            </a:r>
            <a:r>
              <a:rPr lang="en-ID" sz="2000" i="0" dirty="0" err="1">
                <a:solidFill>
                  <a:srgbClr val="212121"/>
                </a:solidFill>
                <a:effectLst/>
                <a:highlight>
                  <a:srgbClr val="FFFFFF"/>
                </a:highlight>
                <a:latin typeface="Roboto" panose="02000000000000000000" pitchFamily="2" charset="0"/>
              </a:rPr>
              <a:t>sebesar</a:t>
            </a:r>
            <a:r>
              <a:rPr lang="en-ID" sz="2000" i="0" dirty="0">
                <a:solidFill>
                  <a:srgbClr val="212121"/>
                </a:solidFill>
                <a:effectLst/>
                <a:highlight>
                  <a:srgbClr val="FFFFFF"/>
                </a:highlight>
                <a:latin typeface="Roboto" panose="02000000000000000000" pitchFamily="2" charset="0"/>
              </a:rPr>
              <a:t> 821,07,dan yang </a:t>
            </a:r>
            <a:r>
              <a:rPr lang="en-ID" sz="2000" i="0" dirty="0" err="1">
                <a:solidFill>
                  <a:srgbClr val="212121"/>
                </a:solidFill>
                <a:effectLst/>
                <a:highlight>
                  <a:srgbClr val="FFFFFF"/>
                </a:highlight>
                <a:latin typeface="Roboto" panose="02000000000000000000" pitchFamily="2" charset="0"/>
              </a:rPr>
              <a:t>terakhir</a:t>
            </a:r>
            <a:r>
              <a:rPr lang="en-ID" sz="2000" i="0" dirty="0">
                <a:solidFill>
                  <a:srgbClr val="212121"/>
                </a:solidFill>
                <a:effectLst/>
                <a:highlight>
                  <a:srgbClr val="FFFFFF"/>
                </a:highlight>
                <a:latin typeface="Roboto" panose="02000000000000000000" pitchFamily="2" charset="0"/>
              </a:rPr>
              <a:t> Web </a:t>
            </a:r>
            <a:r>
              <a:rPr lang="en-ID" sz="2000" i="0" dirty="0" err="1">
                <a:solidFill>
                  <a:srgbClr val="212121"/>
                </a:solidFill>
                <a:effectLst/>
                <a:highlight>
                  <a:srgbClr val="FFFFFF"/>
                </a:highlight>
                <a:latin typeface="Roboto" panose="02000000000000000000" pitchFamily="2" charset="0"/>
              </a:rPr>
              <a:t>sebesar</a:t>
            </a:r>
            <a:r>
              <a:rPr lang="en-ID" sz="2000" i="0" dirty="0">
                <a:solidFill>
                  <a:srgbClr val="212121"/>
                </a:solidFill>
                <a:effectLst/>
                <a:highlight>
                  <a:srgbClr val="FFFFFF"/>
                </a:highlight>
                <a:latin typeface="Roboto" panose="02000000000000000000" pitchFamily="2" charset="0"/>
              </a:rPr>
              <a:t> 811,86</a:t>
            </a:r>
            <a:endParaRPr lang="en-AU" sz="2000" dirty="0">
              <a:latin typeface="Arial" pitchFamily="34" charset="0"/>
              <a:cs typeface="Arial" pitchFamily="34" charset="0"/>
            </a:endParaRPr>
          </a:p>
        </p:txBody>
      </p:sp>
      <p:sp>
        <p:nvSpPr>
          <p:cNvPr id="33" name="ColumnHeader"/>
          <p:cNvSpPr>
            <a:spLocks noChangeArrowheads="1"/>
          </p:cNvSpPr>
          <p:nvPr/>
        </p:nvSpPr>
        <p:spPr bwMode="gray">
          <a:xfrm>
            <a:off x="7450088" y="2330094"/>
            <a:ext cx="10837911"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r>
              <a:rPr lang="en-ID" sz="1600" b="0" i="0" dirty="0">
                <a:solidFill>
                  <a:srgbClr val="212121"/>
                </a:solidFill>
                <a:effectLst/>
                <a:highlight>
                  <a:srgbClr val="FFFFFF"/>
                </a:highlight>
                <a:latin typeface="Roboto" panose="02000000000000000000" pitchFamily="2" charset="0"/>
              </a:rPr>
              <a:t>Rata-rata </a:t>
            </a:r>
            <a:r>
              <a:rPr lang="en-ID" sz="1600" b="0" i="0" dirty="0" err="1">
                <a:solidFill>
                  <a:srgbClr val="212121"/>
                </a:solidFill>
                <a:effectLst/>
                <a:highlight>
                  <a:srgbClr val="FFFFFF"/>
                </a:highlight>
                <a:latin typeface="Roboto" panose="02000000000000000000" pitchFamily="2" charset="0"/>
              </a:rPr>
              <a:t>pengeluaran</a:t>
            </a:r>
            <a:r>
              <a:rPr lang="en-ID" sz="1600" b="0" i="0" dirty="0">
                <a:solidFill>
                  <a:srgbClr val="212121"/>
                </a:solidFill>
                <a:effectLst/>
                <a:highlight>
                  <a:srgbClr val="FFFFFF"/>
                </a:highlight>
                <a:latin typeface="Roboto" panose="02000000000000000000" pitchFamily="2" charset="0"/>
              </a:rPr>
              <a:t> per </a:t>
            </a:r>
            <a:r>
              <a:rPr lang="en-ID" sz="1600" b="0" i="0" dirty="0" err="1">
                <a:solidFill>
                  <a:srgbClr val="212121"/>
                </a:solidFill>
                <a:effectLst/>
                <a:highlight>
                  <a:srgbClr val="FFFFFF"/>
                </a:highlight>
                <a:latin typeface="Roboto" panose="02000000000000000000" pitchFamily="2" charset="0"/>
              </a:rPr>
              <a:t>pembeli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cenderung</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lebih</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tinggi</a:t>
            </a:r>
            <a:r>
              <a:rPr lang="en-ID" sz="1600" b="0" i="0" dirty="0">
                <a:solidFill>
                  <a:srgbClr val="212121"/>
                </a:solidFill>
                <a:effectLst/>
                <a:highlight>
                  <a:srgbClr val="FFFFFF"/>
                </a:highlight>
                <a:latin typeface="Roboto" panose="02000000000000000000" pitchFamily="2" charset="0"/>
              </a:rPr>
              <a:t> pada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Baby Boomers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57 - 75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dan </a:t>
            </a:r>
            <a:r>
              <a:rPr lang="en-ID" sz="1600" b="0" i="0" dirty="0" err="1">
                <a:solidFill>
                  <a:srgbClr val="212121"/>
                </a:solidFill>
                <a:effectLst/>
                <a:highlight>
                  <a:srgbClr val="FFFFFF"/>
                </a:highlight>
                <a:latin typeface="Roboto" panose="02000000000000000000" pitchFamily="2" charset="0"/>
              </a:rPr>
              <a:t>Millenials</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25 - 40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dibandingk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dengan</a:t>
            </a:r>
            <a:r>
              <a:rPr lang="en-ID" sz="1600" b="0" i="0" dirty="0">
                <a:solidFill>
                  <a:srgbClr val="212121"/>
                </a:solidFill>
                <a:effectLst/>
                <a:highlight>
                  <a:srgbClr val="FFFFFF"/>
                </a:highlight>
                <a:latin typeface="Roboto" panose="02000000000000000000" pitchFamily="2" charset="0"/>
              </a:rPr>
              <a:t> Gen X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41 - 56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bai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ntu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pembeli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melalui</a:t>
            </a:r>
            <a:r>
              <a:rPr lang="en-ID" sz="1600" b="0" i="0" dirty="0">
                <a:solidFill>
                  <a:srgbClr val="212121"/>
                </a:solidFill>
                <a:effectLst/>
                <a:highlight>
                  <a:srgbClr val="FFFFFF"/>
                </a:highlight>
                <a:latin typeface="Roboto" panose="02000000000000000000" pitchFamily="2" charset="0"/>
              </a:rPr>
              <a:t> web, </a:t>
            </a:r>
            <a:r>
              <a:rPr lang="en-ID" sz="1600" b="0" i="0" dirty="0" err="1">
                <a:solidFill>
                  <a:srgbClr val="212121"/>
                </a:solidFill>
                <a:effectLst/>
                <a:highlight>
                  <a:srgbClr val="FFFFFF"/>
                </a:highlight>
                <a:latin typeface="Roboto" panose="02000000000000000000" pitchFamily="2" charset="0"/>
              </a:rPr>
              <a:t>katalog</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maupun</a:t>
            </a:r>
            <a:r>
              <a:rPr lang="en-ID" sz="1600" b="0" i="0" dirty="0">
                <a:solidFill>
                  <a:srgbClr val="212121"/>
                </a:solidFill>
                <a:effectLst/>
                <a:highlight>
                  <a:srgbClr val="FFFFFF"/>
                </a:highlight>
                <a:latin typeface="Roboto" panose="02000000000000000000" pitchFamily="2" charset="0"/>
              </a:rPr>
              <a:t> di toko </a:t>
            </a:r>
            <a:r>
              <a:rPr lang="en-ID" sz="1600" b="0" i="0" dirty="0" err="1">
                <a:solidFill>
                  <a:srgbClr val="212121"/>
                </a:solidFill>
                <a:effectLst/>
                <a:highlight>
                  <a:srgbClr val="FFFFFF"/>
                </a:highlight>
                <a:latin typeface="Roboto" panose="02000000000000000000" pitchFamily="2" charset="0"/>
              </a:rPr>
              <a:t>fisik</a:t>
            </a:r>
            <a:r>
              <a:rPr lang="en-ID" sz="1600" b="0" i="0" dirty="0">
                <a:solidFill>
                  <a:srgbClr val="212121"/>
                </a:solidFill>
                <a:effectLst/>
                <a:highlight>
                  <a:srgbClr val="FFFFFF"/>
                </a:highlight>
                <a:latin typeface="Roboto" panose="02000000000000000000" pitchFamily="2" charset="0"/>
              </a:rPr>
              <a:t>(store).</a:t>
            </a:r>
            <a:endParaRPr lang="en-AU" sz="1600" b="1" dirty="0">
              <a:latin typeface="Arial" pitchFamily="34" charset="0"/>
              <a:cs typeface="Arial" pitchFamily="34" charset="0"/>
            </a:endParaRPr>
          </a:p>
        </p:txBody>
      </p:sp>
      <p:sp>
        <p:nvSpPr>
          <p:cNvPr id="34" name="Rectangle 33"/>
          <p:cNvSpPr/>
          <p:nvPr/>
        </p:nvSpPr>
        <p:spPr>
          <a:xfrm>
            <a:off x="8096250" y="1016580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AU" sz="2100" dirty="0">
              <a:solidFill>
                <a:srgbClr val="000000"/>
              </a:solidFill>
              <a:latin typeface="Arial" pitchFamily="34" charset="0"/>
              <a:cs typeface="Arial" pitchFamily="34" charset="0"/>
            </a:endParaRPr>
          </a:p>
        </p:txBody>
      </p:sp>
      <p:pic>
        <p:nvPicPr>
          <p:cNvPr id="3" name="Picture 2">
            <a:extLst>
              <a:ext uri="{FF2B5EF4-FFF2-40B4-BE49-F238E27FC236}">
                <a16:creationId xmlns:a16="http://schemas.microsoft.com/office/drawing/2014/main" id="{62D1A9A3-9345-C68B-4B76-76AFD649C7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529" y="4368229"/>
            <a:ext cx="6914306" cy="527853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17282391-AD99-4A14-DC27-8F7F9D542E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16245" y="3480851"/>
            <a:ext cx="6845249" cy="67672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3823424" y="2157420"/>
            <a:ext cx="9839325"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400" dirty="0"/>
              <a:t>Wine </a:t>
            </a:r>
            <a:r>
              <a:rPr lang="en-ID" sz="2400" dirty="0" err="1"/>
              <a:t>merupakan</a:t>
            </a:r>
            <a:r>
              <a:rPr lang="en-ID" sz="2400" dirty="0"/>
              <a:t> </a:t>
            </a:r>
            <a:r>
              <a:rPr lang="en-ID" sz="2400" dirty="0" err="1"/>
              <a:t>produk</a:t>
            </a:r>
            <a:r>
              <a:rPr lang="en-ID" sz="2400" dirty="0"/>
              <a:t> yang sangat </a:t>
            </a:r>
            <a:r>
              <a:rPr lang="en-ID" sz="2400" dirty="0" err="1"/>
              <a:t>populer</a:t>
            </a:r>
            <a:r>
              <a:rPr lang="en-ID" sz="2400" dirty="0"/>
              <a:t> di </a:t>
            </a:r>
            <a:r>
              <a:rPr lang="en-ID" sz="2400" dirty="0" err="1"/>
              <a:t>kalangan</a:t>
            </a:r>
            <a:r>
              <a:rPr lang="en-ID" sz="2400" dirty="0"/>
              <a:t> </a:t>
            </a:r>
            <a:r>
              <a:rPr lang="en-ID" sz="2400" dirty="0" err="1"/>
              <a:t>konsumen</a:t>
            </a:r>
            <a:r>
              <a:rPr lang="en-ID" sz="2400" dirty="0"/>
              <a:t> (50%), </a:t>
            </a:r>
            <a:r>
              <a:rPr lang="en-ID" sz="2400" dirty="0" err="1"/>
              <a:t>terlepas</a:t>
            </a:r>
            <a:r>
              <a:rPr lang="en-ID" sz="2400" dirty="0"/>
              <a:t> </a:t>
            </a:r>
            <a:r>
              <a:rPr lang="en-ID" sz="2400" dirty="0" err="1"/>
              <a:t>dari</a:t>
            </a:r>
            <a:r>
              <a:rPr lang="en-ID" sz="2400" dirty="0"/>
              <a:t> </a:t>
            </a:r>
            <a:r>
              <a:rPr lang="en-ID" sz="2400" dirty="0" err="1"/>
              <a:t>kanal</a:t>
            </a:r>
            <a:r>
              <a:rPr lang="en-ID" sz="2400" dirty="0"/>
              <a:t> </a:t>
            </a:r>
            <a:r>
              <a:rPr lang="en-ID" sz="2400" dirty="0" err="1"/>
              <a:t>pembelian</a:t>
            </a:r>
            <a:r>
              <a:rPr lang="en-ID" sz="2400" dirty="0"/>
              <a:t> yang </a:t>
            </a:r>
            <a:r>
              <a:rPr lang="en-ID" sz="2400" dirty="0" err="1"/>
              <a:t>mereka</a:t>
            </a:r>
            <a:r>
              <a:rPr lang="en-ID" sz="2400" dirty="0"/>
              <a:t> </a:t>
            </a:r>
            <a:r>
              <a:rPr lang="en-ID" sz="2400" dirty="0" err="1"/>
              <a:t>pilih</a:t>
            </a:r>
            <a:r>
              <a:rPr lang="en-ID" sz="1800" dirty="0"/>
              <a:t>.</a:t>
            </a:r>
            <a:endParaRPr lang="en-AU" sz="18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5216456" y="7352033"/>
            <a:ext cx="7053262" cy="5847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ID" sz="2000" b="1" dirty="0"/>
              <a:t>Ada </a:t>
            </a:r>
            <a:r>
              <a:rPr lang="en-ID" sz="2000" b="1" dirty="0" err="1"/>
              <a:t>perbedaan</a:t>
            </a:r>
            <a:r>
              <a:rPr lang="en-ID" sz="2000" b="1" dirty="0"/>
              <a:t> </a:t>
            </a:r>
            <a:r>
              <a:rPr lang="en-ID" sz="2000" b="1" dirty="0" err="1"/>
              <a:t>kecil</a:t>
            </a:r>
            <a:r>
              <a:rPr lang="en-ID" sz="2000" b="1" dirty="0"/>
              <a:t> yang </a:t>
            </a:r>
            <a:r>
              <a:rPr lang="en-ID" sz="2000" b="1" dirty="0" err="1"/>
              <a:t>perlu</a:t>
            </a:r>
            <a:r>
              <a:rPr lang="en-ID" sz="2000" b="1" dirty="0"/>
              <a:t> </a:t>
            </a:r>
            <a:r>
              <a:rPr lang="en-ID" sz="2000" b="1" dirty="0" err="1"/>
              <a:t>diperhatikan</a:t>
            </a:r>
            <a:r>
              <a:rPr lang="en-AU" sz="20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5397638" y="8686800"/>
            <a:ext cx="7492723" cy="1600200"/>
          </a:xfrm>
          <a:prstGeom prst="rect">
            <a:avLst/>
          </a:prstGeom>
          <a:noFill/>
          <a:ln w="9525" algn="ctr">
            <a:noFill/>
            <a:miter lim="800000"/>
            <a:headEnd type="none" w="lg" len="lg"/>
            <a:tailEnd type="none" w="lg" len="lg"/>
          </a:ln>
          <a:effectLst/>
        </p:spPr>
        <p:txBody>
          <a:bodyPr tIns="137160" bIns="137160"/>
          <a:lstStyle/>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dirty="0" err="1"/>
              <a:t>Terdapat</a:t>
            </a:r>
            <a:r>
              <a:rPr lang="en-ID" sz="2400" dirty="0"/>
              <a:t> </a:t>
            </a:r>
            <a:r>
              <a:rPr lang="en-ID" sz="2400" dirty="0" err="1"/>
              <a:t>kesamaan</a:t>
            </a:r>
            <a:r>
              <a:rPr lang="en-ID" sz="2400" dirty="0"/>
              <a:t> yang </a:t>
            </a:r>
            <a:r>
              <a:rPr lang="en-ID" sz="2400" dirty="0" err="1"/>
              <a:t>cukup</a:t>
            </a:r>
            <a:r>
              <a:rPr lang="en-ID" sz="2400" dirty="0"/>
              <a:t> </a:t>
            </a:r>
            <a:r>
              <a:rPr lang="en-ID" sz="2400" dirty="0" err="1"/>
              <a:t>signifikan</a:t>
            </a:r>
            <a:r>
              <a:rPr lang="en-ID" sz="2400" dirty="0"/>
              <a:t> </a:t>
            </a:r>
            <a:r>
              <a:rPr lang="en-ID" sz="2400" dirty="0" err="1"/>
              <a:t>dalam</a:t>
            </a:r>
            <a:r>
              <a:rPr lang="en-ID" sz="2400" dirty="0"/>
              <a:t> </a:t>
            </a:r>
            <a:r>
              <a:rPr lang="en-ID" sz="2400" dirty="0" err="1"/>
              <a:t>pola</a:t>
            </a:r>
            <a:r>
              <a:rPr lang="en-ID" sz="2400" dirty="0"/>
              <a:t> </a:t>
            </a:r>
            <a:r>
              <a:rPr lang="en-ID" sz="2400" dirty="0" err="1"/>
              <a:t>pembelian</a:t>
            </a:r>
            <a:r>
              <a:rPr lang="en-ID" sz="2400" dirty="0"/>
              <a:t> </a:t>
            </a:r>
            <a:r>
              <a:rPr lang="en-ID" sz="2400" dirty="0" err="1"/>
              <a:t>pelanggan</a:t>
            </a:r>
            <a:r>
              <a:rPr lang="en-ID" sz="2400" dirty="0"/>
              <a:t> di </a:t>
            </a:r>
            <a:r>
              <a:rPr lang="en-ID" sz="2400" dirty="0" err="1"/>
              <a:t>ketiga</a:t>
            </a:r>
            <a:r>
              <a:rPr lang="en-ID" sz="2400" dirty="0"/>
              <a:t> </a:t>
            </a:r>
            <a:r>
              <a:rPr lang="en-ID" sz="2400" dirty="0" err="1"/>
              <a:t>kanal</a:t>
            </a:r>
            <a:r>
              <a:rPr lang="en-ID" sz="2400" dirty="0"/>
              <a:t> (Web, </a:t>
            </a:r>
            <a:r>
              <a:rPr lang="en-ID" sz="2400" dirty="0" err="1"/>
              <a:t>Catalog</a:t>
            </a:r>
            <a:r>
              <a:rPr lang="en-ID" sz="2400" dirty="0"/>
              <a:t>, dan Store). </a:t>
            </a:r>
            <a:r>
              <a:rPr lang="en-ID" sz="2400" b="1" dirty="0" err="1"/>
              <a:t>Secara</a:t>
            </a:r>
            <a:r>
              <a:rPr lang="en-ID" sz="2400" b="1" dirty="0"/>
              <a:t> </a:t>
            </a:r>
            <a:r>
              <a:rPr lang="en-ID" sz="2400" b="1" dirty="0" err="1"/>
              <a:t>umum</a:t>
            </a:r>
            <a:r>
              <a:rPr lang="en-ID" sz="2400" b="1" dirty="0"/>
              <a:t>, </a:t>
            </a:r>
            <a:r>
              <a:rPr lang="en-ID" sz="2400" b="1" dirty="0" err="1"/>
              <a:t>produk</a:t>
            </a:r>
            <a:r>
              <a:rPr lang="en-ID" sz="2400" b="1" dirty="0"/>
              <a:t> </a:t>
            </a:r>
            <a:r>
              <a:rPr lang="en-ID" sz="2400" b="1" dirty="0" err="1"/>
              <a:t>anggur</a:t>
            </a:r>
            <a:r>
              <a:rPr lang="en-ID" sz="2400" b="1" dirty="0"/>
              <a:t> (Wines) </a:t>
            </a:r>
            <a:r>
              <a:rPr lang="en-ID" sz="2400" b="1" dirty="0" err="1"/>
              <a:t>merupakan</a:t>
            </a:r>
            <a:r>
              <a:rPr lang="en-ID" sz="2400" b="1" dirty="0"/>
              <a:t> </a:t>
            </a:r>
            <a:r>
              <a:rPr lang="en-ID" sz="2400" b="1" dirty="0" err="1"/>
              <a:t>produk</a:t>
            </a:r>
            <a:r>
              <a:rPr lang="en-ID" sz="2400" b="1" dirty="0"/>
              <a:t> yang paling </a:t>
            </a:r>
            <a:r>
              <a:rPr lang="en-ID" sz="2400" b="1" dirty="0" err="1"/>
              <a:t>banyak</a:t>
            </a:r>
            <a:r>
              <a:rPr lang="en-ID" sz="2400" b="1" dirty="0"/>
              <a:t> </a:t>
            </a:r>
            <a:r>
              <a:rPr lang="en-ID" sz="2400" b="1" dirty="0" err="1"/>
              <a:t>dibeli</a:t>
            </a:r>
            <a:r>
              <a:rPr lang="en-ID" sz="2400" b="1" dirty="0"/>
              <a:t> di </a:t>
            </a:r>
            <a:r>
              <a:rPr lang="en-ID" sz="2400" b="1" dirty="0" err="1"/>
              <a:t>semua</a:t>
            </a:r>
            <a:r>
              <a:rPr lang="en-ID" sz="2400" b="1" dirty="0"/>
              <a:t> </a:t>
            </a:r>
            <a:r>
              <a:rPr lang="en-ID" sz="2400" b="1" dirty="0" err="1"/>
              <a:t>kanal</a:t>
            </a:r>
            <a:r>
              <a:rPr lang="en-ID" sz="2400" b="1" dirty="0"/>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jenis</a:t>
            </a:r>
            <a:r>
              <a:rPr lang="en-AU" sz="1500" b="1" i="1" dirty="0">
                <a:latin typeface="Arial" pitchFamily="34" charset="0"/>
                <a:cs typeface="Arial" pitchFamily="34" charset="0"/>
              </a:rPr>
              <a:t> </a:t>
            </a:r>
            <a:r>
              <a:rPr lang="en-AU" sz="1500" b="1" i="1" dirty="0" err="1">
                <a:latin typeface="Arial" pitchFamily="34" charset="0"/>
                <a:cs typeface="Arial" pitchFamily="34" charset="0"/>
              </a:rPr>
              <a:t>produk</a:t>
            </a:r>
            <a:r>
              <a:rPr lang="en-AU" sz="1500" b="1" i="1" dirty="0">
                <a:latin typeface="Arial" pitchFamily="34" charset="0"/>
                <a:cs typeface="Arial" pitchFamily="34" charset="0"/>
              </a:rPr>
              <a:t>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sering</a:t>
            </a:r>
            <a:r>
              <a:rPr lang="en-AU" sz="1500" b="1" i="1" dirty="0">
                <a:latin typeface="Arial" pitchFamily="34" charset="0"/>
                <a:cs typeface="Arial" pitchFamily="34" charset="0"/>
              </a:rPr>
              <a:t> </a:t>
            </a:r>
            <a:r>
              <a:rPr lang="en-AU" sz="1500" b="1" i="1" dirty="0" err="1">
                <a:latin typeface="Arial" pitchFamily="34" charset="0"/>
                <a:cs typeface="Arial" pitchFamily="34" charset="0"/>
              </a:rPr>
              <a:t>dibeli</a:t>
            </a:r>
            <a:r>
              <a:rPr lang="en-AU" sz="1500" b="1" i="1" dirty="0">
                <a:latin typeface="Arial" pitchFamily="34" charset="0"/>
                <a:cs typeface="Arial" pitchFamily="34" charset="0"/>
              </a:rPr>
              <a:t> oleh </a:t>
            </a:r>
            <a:r>
              <a:rPr lang="en-AU" sz="1500" b="1" i="1" dirty="0" err="1">
                <a:latin typeface="Arial" pitchFamily="34" charset="0"/>
                <a:cs typeface="Arial" pitchFamily="34" charset="0"/>
              </a:rPr>
              <a:t>pelangan</a:t>
            </a:r>
            <a:r>
              <a:rPr lang="en-AU" sz="1500" b="1" i="1" dirty="0">
                <a:latin typeface="Arial" pitchFamily="34" charset="0"/>
                <a:cs typeface="Arial" pitchFamily="34" charset="0"/>
              </a:rPr>
              <a:t> di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1026" name="Picture 2">
            <a:extLst>
              <a:ext uri="{FF2B5EF4-FFF2-40B4-BE49-F238E27FC236}">
                <a16:creationId xmlns:a16="http://schemas.microsoft.com/office/drawing/2014/main" id="{EE3AE3DF-B876-6896-6976-E63DDD07E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436" y="3248950"/>
            <a:ext cx="16197264" cy="4143375"/>
          </a:xfrm>
          <a:prstGeom prst="rect">
            <a:avLst/>
          </a:prstGeom>
          <a:noFill/>
          <a:extLst>
            <a:ext uri="{909E8E84-426E-40DD-AFC4-6F175D3DCCD1}">
              <a14:hiddenFill xmlns:a14="http://schemas.microsoft.com/office/drawing/2010/main">
                <a:solidFill>
                  <a:srgbClr val="FFFFFF"/>
                </a:solidFill>
              </a14:hiddenFill>
            </a:ext>
          </a:extLst>
        </p:spPr>
      </p:pic>
      <p:sp>
        <p:nvSpPr>
          <p:cNvPr id="2" name="TextColumnContent">
            <a:extLst>
              <a:ext uri="{FF2B5EF4-FFF2-40B4-BE49-F238E27FC236}">
                <a16:creationId xmlns:a16="http://schemas.microsoft.com/office/drawing/2014/main" id="{9B67BD0F-C95A-5D00-EE3E-B41AE9DB9ABD}"/>
              </a:ext>
            </a:extLst>
          </p:cNvPr>
          <p:cNvSpPr>
            <a:spLocks noChangeArrowheads="1"/>
          </p:cNvSpPr>
          <p:nvPr/>
        </p:nvSpPr>
        <p:spPr bwMode="gray">
          <a:xfrm>
            <a:off x="9720262" y="12357563"/>
            <a:ext cx="7492723" cy="7089225"/>
          </a:xfrm>
          <a:prstGeom prst="rect">
            <a:avLst/>
          </a:prstGeom>
          <a:noFill/>
          <a:ln w="9525" algn="ctr">
            <a:noFill/>
            <a:miter lim="800000"/>
            <a:headEnd type="none" w="lg" len="lg"/>
            <a:tailEnd type="none" w="lg" len="lg"/>
          </a:ln>
          <a:effectLst/>
        </p:spPr>
        <p:txBody>
          <a:bodyPr tIns="137160" bIns="137160"/>
          <a:lstStyle/>
          <a:p>
            <a:pPr algn="l"/>
            <a:endParaRPr lang="en-ID" sz="2000" b="0" i="0" dirty="0">
              <a:solidFill>
                <a:srgbClr val="212121"/>
              </a:solidFill>
              <a:effectLst/>
              <a:highlight>
                <a:srgbClr val="FFFFFF"/>
              </a:highlight>
              <a:latin typeface="Roboto" panose="02000000000000000000" pitchFamily="2"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5" name="Rectangle 3">
            <a:extLst>
              <a:ext uri="{FF2B5EF4-FFF2-40B4-BE49-F238E27FC236}">
                <a16:creationId xmlns:a16="http://schemas.microsoft.com/office/drawing/2014/main" id="{DC07928E-857D-6CCB-BD5B-93127A11A0CD}"/>
              </a:ext>
            </a:extLst>
          </p:cNvPr>
          <p:cNvSpPr>
            <a:spLocks noChangeArrowheads="1"/>
          </p:cNvSpPr>
          <p:nvPr/>
        </p:nvSpPr>
        <p:spPr bwMode="auto">
          <a:xfrm>
            <a:off x="2689295" y="8243508"/>
            <a:ext cx="12804636"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ID" sz="2400" b="0" i="0" dirty="0" err="1">
                <a:solidFill>
                  <a:srgbClr val="212121"/>
                </a:solidFill>
                <a:effectLst/>
                <a:highlight>
                  <a:srgbClr val="FFFFFF"/>
                </a:highlight>
                <a:latin typeface="Roboto" panose="02000000000000000000" pitchFamily="2" charset="0"/>
              </a:rPr>
              <a:t>Meskipun</a:t>
            </a:r>
            <a:r>
              <a:rPr lang="en-ID" sz="2400" b="0" i="0" dirty="0">
                <a:solidFill>
                  <a:srgbClr val="212121"/>
                </a:solidFill>
                <a:effectLst/>
                <a:highlight>
                  <a:srgbClr val="FFFFFF"/>
                </a:highlight>
                <a:latin typeface="Roboto" panose="02000000000000000000" pitchFamily="2" charset="0"/>
              </a:rPr>
              <a:t> wine </a:t>
            </a:r>
            <a:r>
              <a:rPr lang="en-ID" sz="2400" b="0" i="0" dirty="0" err="1">
                <a:solidFill>
                  <a:srgbClr val="212121"/>
                </a:solidFill>
                <a:effectLst/>
                <a:highlight>
                  <a:srgbClr val="FFFFFF"/>
                </a:highlight>
                <a:latin typeface="Roboto" panose="02000000000000000000" pitchFamily="2" charset="0"/>
              </a:rPr>
              <a:t>merupakan</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oduk</a:t>
            </a:r>
            <a:r>
              <a:rPr lang="en-ID" sz="2400" b="0" i="0" dirty="0">
                <a:solidFill>
                  <a:srgbClr val="212121"/>
                </a:solidFill>
                <a:effectLst/>
                <a:highlight>
                  <a:srgbClr val="FFFFFF"/>
                </a:highlight>
                <a:latin typeface="Roboto" panose="02000000000000000000" pitchFamily="2" charset="0"/>
              </a:rPr>
              <a:t> yang paling </a:t>
            </a:r>
            <a:r>
              <a:rPr lang="en-ID" sz="2400" b="0" i="0" dirty="0" err="1">
                <a:solidFill>
                  <a:srgbClr val="212121"/>
                </a:solidFill>
                <a:effectLst/>
                <a:highlight>
                  <a:srgbClr val="FFFFFF"/>
                </a:highlight>
                <a:latin typeface="Roboto" panose="02000000000000000000" pitchFamily="2" charset="0"/>
              </a:rPr>
              <a:t>populer</a:t>
            </a:r>
            <a:r>
              <a:rPr lang="en-ID" sz="2400" b="0" i="0" dirty="0">
                <a:solidFill>
                  <a:srgbClr val="212121"/>
                </a:solidFill>
                <a:effectLst/>
                <a:highlight>
                  <a:srgbClr val="FFFFFF"/>
                </a:highlight>
                <a:latin typeface="Roboto" panose="02000000000000000000" pitchFamily="2" charset="0"/>
              </a:rPr>
              <a:t> di </a:t>
            </a:r>
            <a:r>
              <a:rPr lang="en-ID" sz="2400" b="0" i="0" dirty="0" err="1">
                <a:solidFill>
                  <a:srgbClr val="212121"/>
                </a:solidFill>
                <a:effectLst/>
                <a:highlight>
                  <a:srgbClr val="FFFFFF"/>
                </a:highlight>
                <a:latin typeface="Roboto" panose="02000000000000000000" pitchFamily="2" charset="0"/>
              </a:rPr>
              <a:t>semua</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kanal</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terdapat</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erbedaan</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eferensi</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dalam</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membeli</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oduk</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lainnya</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melalui</a:t>
            </a:r>
            <a:r>
              <a:rPr lang="en-ID" sz="2400" b="0" i="0" dirty="0">
                <a:solidFill>
                  <a:srgbClr val="212121"/>
                </a:solidFill>
                <a:effectLst/>
                <a:highlight>
                  <a:srgbClr val="FFFFFF"/>
                </a:highlight>
                <a:latin typeface="Roboto" panose="02000000000000000000" pitchFamily="2" charset="0"/>
              </a:rPr>
              <a:t> masing-masing </a:t>
            </a:r>
            <a:r>
              <a:rPr lang="en-ID" sz="2400" b="0" i="0" dirty="0" err="1">
                <a:solidFill>
                  <a:srgbClr val="212121"/>
                </a:solidFill>
                <a:effectLst/>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seperti</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aging</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lebih</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banya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ibeli</a:t>
            </a:r>
            <a:r>
              <a:rPr lang="en-ID" sz="2400" dirty="0">
                <a:solidFill>
                  <a:srgbClr val="212121"/>
                </a:solidFill>
                <a:highlight>
                  <a:srgbClr val="FFFFFF"/>
                </a:highlight>
                <a:latin typeface="Roboto" panose="02000000000000000000" pitchFamily="2" charset="0"/>
              </a:rPr>
              <a:t> pada </a:t>
            </a:r>
            <a:r>
              <a:rPr lang="en-ID" sz="2400" dirty="0" err="1">
                <a:solidFill>
                  <a:srgbClr val="212121"/>
                </a:solidFill>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Catalog</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kualitas</a:t>
            </a:r>
            <a:r>
              <a:rPr lang="en-ID" sz="2400" dirty="0">
                <a:solidFill>
                  <a:srgbClr val="212121"/>
                </a:solidFill>
                <a:highlight>
                  <a:srgbClr val="FFFFFF"/>
                </a:highlight>
                <a:latin typeface="Roboto" panose="02000000000000000000" pitchFamily="2" charset="0"/>
              </a:rPr>
              <a:t> premium (gold) dan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ikan </a:t>
            </a:r>
            <a:r>
              <a:rPr lang="en-ID" sz="2400" dirty="0" err="1">
                <a:solidFill>
                  <a:srgbClr val="212121"/>
                </a:solidFill>
                <a:highlight>
                  <a:srgbClr val="FFFFFF"/>
                </a:highlight>
                <a:latin typeface="Roboto" panose="02000000000000000000" pitchFamily="2" charset="0"/>
              </a:rPr>
              <a:t>lebih</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banya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ibeli</a:t>
            </a:r>
            <a:r>
              <a:rPr lang="en-ID" sz="2400" dirty="0">
                <a:solidFill>
                  <a:srgbClr val="212121"/>
                </a:solidFill>
                <a:highlight>
                  <a:srgbClr val="FFFFFF"/>
                </a:highlight>
                <a:latin typeface="Roboto" panose="02000000000000000000" pitchFamily="2" charset="0"/>
              </a:rPr>
              <a:t> pada </a:t>
            </a:r>
            <a:r>
              <a:rPr lang="en-ID" sz="2400" dirty="0" err="1">
                <a:solidFill>
                  <a:srgbClr val="212121"/>
                </a:solidFill>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Web dan Stor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17677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95374" y="2455486"/>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b="1" dirty="0"/>
              <a:t>Store </a:t>
            </a:r>
            <a:r>
              <a:rPr lang="en-ID" sz="2000" dirty="0" err="1"/>
              <a:t>adalah</a:t>
            </a:r>
            <a:r>
              <a:rPr lang="en-ID" sz="2000" dirty="0"/>
              <a:t> </a:t>
            </a:r>
            <a:r>
              <a:rPr lang="en-ID" sz="2000" dirty="0" err="1"/>
              <a:t>kanal</a:t>
            </a:r>
            <a:r>
              <a:rPr lang="en-ID" sz="2000" dirty="0"/>
              <a:t> yang paling </a:t>
            </a:r>
            <a:r>
              <a:rPr lang="en-ID" sz="2000" dirty="0" err="1"/>
              <a:t>sering</a:t>
            </a:r>
            <a:r>
              <a:rPr lang="en-ID" sz="2000" dirty="0"/>
              <a:t> </a:t>
            </a:r>
            <a:r>
              <a:rPr lang="en-ID" sz="2000" dirty="0" err="1"/>
              <a:t>dipilih</a:t>
            </a:r>
            <a:r>
              <a:rPr lang="en-ID" sz="2000" dirty="0"/>
              <a:t> </a:t>
            </a:r>
            <a:r>
              <a:rPr lang="en-ID" sz="2000" dirty="0" err="1"/>
              <a:t>saat</a:t>
            </a:r>
            <a:r>
              <a:rPr lang="en-ID" sz="2000" dirty="0"/>
              <a:t> </a:t>
            </a:r>
            <a:r>
              <a:rPr lang="en-ID" sz="2000" dirty="0" err="1"/>
              <a:t>pelanggan</a:t>
            </a:r>
            <a:r>
              <a:rPr lang="en-ID" sz="2000" dirty="0"/>
              <a:t> </a:t>
            </a:r>
            <a:r>
              <a:rPr lang="en-ID" sz="2000" dirty="0" err="1"/>
              <a:t>membeli</a:t>
            </a:r>
            <a:r>
              <a:rPr lang="en-ID" sz="2000" dirty="0"/>
              <a:t> </a:t>
            </a:r>
            <a:r>
              <a:rPr lang="en-ID" sz="2000" dirty="0" err="1"/>
              <a:t>produk</a:t>
            </a:r>
            <a:r>
              <a:rPr lang="en-ID" sz="2000" dirty="0"/>
              <a:t> </a:t>
            </a:r>
            <a:r>
              <a:rPr lang="en-ID" sz="2000" dirty="0" err="1"/>
              <a:t>dengan</a:t>
            </a:r>
            <a:r>
              <a:rPr lang="en-ID" sz="2000" dirty="0"/>
              <a:t> </a:t>
            </a:r>
            <a:r>
              <a:rPr lang="en-ID" sz="2000" dirty="0" err="1"/>
              <a:t>diskon</a:t>
            </a:r>
            <a:r>
              <a:rPr lang="en-ID" sz="2000" dirty="0"/>
              <a:t>, </a:t>
            </a:r>
            <a:r>
              <a:rPr lang="en-ID" sz="2000" dirty="0" err="1"/>
              <a:t>baik</a:t>
            </a:r>
            <a:r>
              <a:rPr lang="en-ID" sz="2000" dirty="0"/>
              <a:t> pada </a:t>
            </a:r>
            <a:r>
              <a:rPr lang="en-ID" sz="2000" dirty="0" err="1"/>
              <a:t>jumlah</a:t>
            </a:r>
            <a:r>
              <a:rPr lang="en-ID" sz="2000" dirty="0"/>
              <a:t> </a:t>
            </a:r>
            <a:r>
              <a:rPr lang="en-ID" sz="2000" dirty="0" err="1"/>
              <a:t>pembelian</a:t>
            </a:r>
            <a:r>
              <a:rPr lang="en-ID" sz="2000" dirty="0"/>
              <a:t> </a:t>
            </a:r>
            <a:r>
              <a:rPr lang="en-ID" sz="2000" dirty="0" err="1"/>
              <a:t>rendah</a:t>
            </a:r>
            <a:r>
              <a:rPr lang="en-ID" sz="2000" dirty="0"/>
              <a:t> </a:t>
            </a:r>
            <a:r>
              <a:rPr lang="en-ID" sz="2000" dirty="0" err="1"/>
              <a:t>maupun</a:t>
            </a:r>
            <a:r>
              <a:rPr lang="en-ID" sz="2000" dirty="0"/>
              <a:t> </a:t>
            </a:r>
            <a:r>
              <a:rPr lang="en-ID" sz="2000" dirty="0" err="1"/>
              <a:t>tinggi</a:t>
            </a:r>
            <a:r>
              <a:rPr lang="en-ID" sz="2000" dirty="0"/>
              <a:t>. Hal </a:t>
            </a:r>
            <a:r>
              <a:rPr lang="en-ID" sz="2000" dirty="0" err="1"/>
              <a:t>ini</a:t>
            </a:r>
            <a:r>
              <a:rPr lang="en-ID" sz="2000" dirty="0"/>
              <a:t> </a:t>
            </a:r>
            <a:r>
              <a:rPr lang="en-ID" sz="2000" dirty="0" err="1"/>
              <a:t>menunjukkan</a:t>
            </a:r>
            <a:r>
              <a:rPr lang="en-ID" sz="2000" dirty="0"/>
              <a:t> </a:t>
            </a:r>
            <a:r>
              <a:rPr lang="en-ID" sz="2000" dirty="0" err="1"/>
              <a:t>bahwa</a:t>
            </a:r>
            <a:r>
              <a:rPr lang="en-ID" sz="2000" dirty="0"/>
              <a:t> </a:t>
            </a:r>
            <a:r>
              <a:rPr lang="en-ID" sz="2000" dirty="0" err="1"/>
              <a:t>pelanggan</a:t>
            </a:r>
            <a:r>
              <a:rPr lang="en-ID" sz="2000" dirty="0"/>
              <a:t> </a:t>
            </a:r>
            <a:r>
              <a:rPr lang="en-ID" sz="2000" dirty="0" err="1"/>
              <a:t>lebih</a:t>
            </a:r>
            <a:r>
              <a:rPr lang="en-ID" sz="2000" dirty="0"/>
              <a:t> </a:t>
            </a:r>
            <a:r>
              <a:rPr lang="en-ID" sz="2000" dirty="0" err="1"/>
              <a:t>suka</a:t>
            </a:r>
            <a:r>
              <a:rPr lang="en-ID" sz="2000" dirty="0"/>
              <a:t> </a:t>
            </a:r>
            <a:r>
              <a:rPr lang="en-ID" sz="2000" dirty="0" err="1"/>
              <a:t>langsung</a:t>
            </a:r>
            <a:r>
              <a:rPr lang="en-ID" sz="2000" dirty="0"/>
              <a:t> </a:t>
            </a:r>
            <a:r>
              <a:rPr lang="en-ID" sz="2000" dirty="0" err="1"/>
              <a:t>ke</a:t>
            </a:r>
            <a:r>
              <a:rPr lang="en-ID" sz="2000" dirty="0"/>
              <a:t> toko </a:t>
            </a:r>
            <a:r>
              <a:rPr lang="en-ID" sz="2000" dirty="0" err="1"/>
              <a:t>fisik</a:t>
            </a:r>
            <a:r>
              <a:rPr lang="en-ID" sz="2000" dirty="0"/>
              <a:t> </a:t>
            </a:r>
            <a:r>
              <a:rPr lang="en-ID" sz="2000" dirty="0" err="1"/>
              <a:t>ketika</a:t>
            </a:r>
            <a:r>
              <a:rPr lang="en-ID" sz="2000" dirty="0"/>
              <a:t> </a:t>
            </a:r>
            <a:r>
              <a:rPr lang="en-ID" sz="2000" dirty="0" err="1"/>
              <a:t>mereka</a:t>
            </a:r>
            <a:r>
              <a:rPr lang="en-ID" sz="2000" dirty="0"/>
              <a:t> </a:t>
            </a:r>
            <a:r>
              <a:rPr lang="en-ID" sz="2000" dirty="0" err="1"/>
              <a:t>mendapatkan</a:t>
            </a:r>
            <a:r>
              <a:rPr lang="en-ID" sz="2000" dirty="0"/>
              <a:t> </a:t>
            </a:r>
            <a:r>
              <a:rPr lang="en-ID" sz="2000" dirty="0" err="1"/>
              <a:t>diskon</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411194"/>
            <a:ext cx="7053262" cy="64633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apat</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impul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ahwa</a:t>
            </a:r>
            <a:r>
              <a:rPr lang="en-AU" sz="24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9720262" y="3057525"/>
            <a:ext cx="8181975" cy="7089225"/>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1800" b="1" kern="100" dirty="0" err="1">
                <a:effectLst/>
                <a:latin typeface="+mj-lt"/>
                <a:ea typeface="Calibri" panose="020F0502020204030204" pitchFamily="34" charset="0"/>
                <a:cs typeface="Times New Roman" panose="02020603050405020304" pitchFamily="18" charset="0"/>
              </a:rPr>
              <a:t>Disko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denga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Jumlah</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Pembelia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Rendah</a:t>
            </a:r>
            <a:r>
              <a:rPr lang="en-ID" sz="1800" b="1" kern="100" dirty="0">
                <a:effectLst/>
                <a:latin typeface="+mj-lt"/>
                <a:ea typeface="Calibri" panose="020F0502020204030204" pitchFamily="34" charset="0"/>
                <a:cs typeface="Times New Roman" panose="02020603050405020304" pitchFamily="18" charset="0"/>
              </a:rPr>
              <a:t> (1-5)</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Store: </a:t>
            </a:r>
            <a:r>
              <a:rPr lang="en-ID" sz="1800" kern="100" dirty="0" err="1">
                <a:effectLst/>
                <a:latin typeface="+mj-lt"/>
                <a:ea typeface="Calibri" panose="020F0502020204030204" pitchFamily="34" charset="0"/>
                <a:cs typeface="Times New Roman" panose="02020603050405020304" pitchFamily="18" charset="0"/>
              </a:rPr>
              <a:t>Mendominasi</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semua</a:t>
            </a:r>
            <a:r>
              <a:rPr lang="en-ID" sz="1800" kern="100" dirty="0">
                <a:effectLst/>
                <a:latin typeface="+mj-lt"/>
                <a:ea typeface="Calibri" panose="020F0502020204030204" pitchFamily="34" charset="0"/>
                <a:cs typeface="Times New Roman" panose="02020603050405020304" pitchFamily="18" charset="0"/>
              </a:rPr>
              <a:t> level </a:t>
            </a:r>
            <a:r>
              <a:rPr lang="en-ID" sz="1800" kern="100" dirty="0" err="1">
                <a:effectLst/>
                <a:latin typeface="+mj-lt"/>
                <a:ea typeface="Calibri" panose="020F0502020204030204" pitchFamily="34" charset="0"/>
                <a:cs typeface="Times New Roman" panose="02020603050405020304" pitchFamily="18" charset="0"/>
              </a:rPr>
              <a:t>jum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en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n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njuk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ahw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Store </a:t>
            </a:r>
            <a:r>
              <a:rPr lang="en-ID" sz="1800" kern="100" dirty="0" err="1">
                <a:effectLst/>
                <a:latin typeface="+mj-lt"/>
                <a:ea typeface="Calibri" panose="020F0502020204030204" pitchFamily="34" charset="0"/>
                <a:cs typeface="Times New Roman" panose="02020603050405020304" pitchFamily="18" charset="0"/>
              </a:rPr>
              <a:t>adalah</a:t>
            </a:r>
            <a:r>
              <a:rPr lang="en-ID" sz="1800" kern="100" dirty="0">
                <a:effectLst/>
                <a:latin typeface="+mj-lt"/>
                <a:ea typeface="Calibri" panose="020F0502020204030204" pitchFamily="34" charset="0"/>
                <a:cs typeface="Times New Roman" panose="02020603050405020304" pitchFamily="18" charset="0"/>
              </a:rPr>
              <a:t> yang paling </a:t>
            </a:r>
            <a:r>
              <a:rPr lang="en-ID" sz="1800" kern="100" dirty="0" err="1">
                <a:effectLst/>
                <a:latin typeface="+mj-lt"/>
                <a:ea typeface="Calibri" panose="020F0502020204030204" pitchFamily="34" charset="0"/>
                <a:cs typeface="Times New Roman" panose="02020603050405020304" pitchFamily="18" charset="0"/>
              </a:rPr>
              <a:t>banya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pil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tik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lang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laku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dikit</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en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err="1">
                <a:effectLst/>
                <a:latin typeface="+mj-lt"/>
                <a:ea typeface="Calibri" panose="020F0502020204030204" pitchFamily="34" charset="0"/>
                <a:cs typeface="Times New Roman" panose="02020603050405020304" pitchFamily="18" charset="0"/>
              </a:rPr>
              <a:t>Catalog</a:t>
            </a:r>
            <a:r>
              <a:rPr lang="en-ID" sz="1800" b="1" kern="100" dirty="0">
                <a:effectLst/>
                <a:latin typeface="+mj-lt"/>
                <a:ea typeface="Calibri" panose="020F0502020204030204" pitchFamily="34" charset="0"/>
                <a:cs typeface="Times New Roman" panose="02020603050405020304" pitchFamily="18" charset="0"/>
              </a:rPr>
              <a:t> : </a:t>
            </a:r>
            <a:r>
              <a:rPr lang="en-ID" sz="1800" kern="100" dirty="0" err="1">
                <a:effectLst/>
                <a:latin typeface="+mj-lt"/>
                <a:ea typeface="Calibri" panose="020F0502020204030204" pitchFamily="34" charset="0"/>
                <a:cs typeface="Times New Roman" panose="02020603050405020304" pitchFamily="18" charset="0"/>
              </a:rPr>
              <a:t>Diguna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cukup</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ri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dan </a:t>
            </a:r>
            <a:r>
              <a:rPr lang="en-ID" sz="1800" kern="100" dirty="0" err="1">
                <a:effectLst/>
                <a:latin typeface="+mj-lt"/>
                <a:ea typeface="Calibri" panose="020F0502020204030204" pitchFamily="34" charset="0"/>
                <a:cs typeface="Times New Roman" panose="02020603050405020304" pitchFamily="18" charset="0"/>
              </a:rPr>
              <a:t>kedu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r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rastis</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te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tu</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Web</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milik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leb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rend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bandingkan</a:t>
            </a:r>
            <a:r>
              <a:rPr lang="en-ID" sz="1800" kern="100" dirty="0">
                <a:effectLst/>
                <a:latin typeface="+mj-lt"/>
                <a:ea typeface="Calibri" panose="020F0502020204030204" pitchFamily="34" charset="0"/>
                <a:cs typeface="Times New Roman" panose="02020603050405020304" pitchFamily="18" charset="0"/>
              </a:rPr>
              <a:t> Store dan </a:t>
            </a:r>
            <a:r>
              <a:rPr lang="en-ID" sz="1800" kern="100" dirty="0" err="1">
                <a:effectLst/>
                <a:latin typeface="+mj-lt"/>
                <a:ea typeface="Calibri" panose="020F0502020204030204" pitchFamily="34" charset="0"/>
                <a:cs typeface="Times New Roman" panose="02020603050405020304" pitchFamily="18" charset="0"/>
              </a:rPr>
              <a:t>Catalo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as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njuk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ada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nggunaa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signifi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hingg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lima</a:t>
            </a:r>
            <a:r>
              <a:rPr lang="en-ID" sz="1800" kern="100" dirty="0">
                <a:effectLst/>
                <a:latin typeface="+mj-lt"/>
                <a:ea typeface="Calibri" panose="020F0502020204030204" pitchFamily="34" charset="0"/>
                <a:cs typeface="Times New Roman" panose="02020603050405020304" pitchFamily="18" charset="0"/>
              </a:rPr>
              <a:t>.</a:t>
            </a:r>
          </a:p>
          <a:p>
            <a:pPr lvl="0">
              <a:lnSpc>
                <a:spcPct val="107000"/>
              </a:lnSpc>
              <a:spcAft>
                <a:spcPts val="800"/>
              </a:spcAft>
              <a:buSzPts val="1000"/>
              <a:tabLst>
                <a:tab pos="457200" algn="l"/>
              </a:tabLst>
            </a:pPr>
            <a:endParaRPr lang="en-ID" sz="1800" kern="100" dirty="0">
              <a:latin typeface="+mj-lt"/>
              <a:ea typeface="Calibri" panose="020F0502020204030204" pitchFamily="34" charset="0"/>
              <a:cs typeface="Times New Roman" panose="02020603050405020304" pitchFamily="18" charset="0"/>
            </a:endParaRPr>
          </a:p>
          <a:p>
            <a:pPr lvl="0">
              <a:lnSpc>
                <a:spcPct val="107000"/>
              </a:lnSpc>
              <a:spcAft>
                <a:spcPts val="800"/>
              </a:spcAft>
              <a:buSzPts val="1000"/>
              <a:tabLst>
                <a:tab pos="457200" algn="l"/>
              </a:tabLst>
            </a:pPr>
            <a:r>
              <a:rPr lang="en-ID" sz="1800" b="1" dirty="0" err="1">
                <a:effectLst/>
                <a:latin typeface="+mj-lt"/>
                <a:ea typeface="Calibri" panose="020F0502020204030204" pitchFamily="34" charset="0"/>
                <a:cs typeface="Times New Roman" panose="02020603050405020304" pitchFamily="18" charset="0"/>
              </a:rPr>
              <a:t>Diskon</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dengan</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Jumlah</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Pembelian</a:t>
            </a:r>
            <a:r>
              <a:rPr lang="en-ID" sz="1800" b="1" dirty="0">
                <a:effectLst/>
                <a:latin typeface="+mj-lt"/>
                <a:ea typeface="Calibri" panose="020F0502020204030204" pitchFamily="34" charset="0"/>
                <a:cs typeface="Times New Roman" panose="02020603050405020304" pitchFamily="18" charset="0"/>
              </a:rPr>
              <a:t> Tinggi (6-15)</a:t>
            </a:r>
            <a:r>
              <a:rPr lang="en-ID" sz="18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Store</a:t>
            </a:r>
            <a:r>
              <a:rPr lang="en-ID" sz="1800" kern="100" dirty="0">
                <a:effectLst/>
                <a:latin typeface="+mj-lt"/>
                <a:ea typeface="Calibri" panose="020F0502020204030204" pitchFamily="34" charset="0"/>
                <a:cs typeface="Times New Roman" panose="02020603050405020304" pitchFamily="18" charset="0"/>
              </a:rPr>
              <a:t>: Masih </a:t>
            </a:r>
            <a:r>
              <a:rPr lang="en-ID" sz="1800" kern="100" dirty="0" err="1">
                <a:effectLst/>
                <a:latin typeface="+mj-lt"/>
                <a:ea typeface="Calibri" panose="020F0502020204030204" pitchFamily="34" charset="0"/>
                <a:cs typeface="Times New Roman" panose="02020603050405020304" pitchFamily="18" charset="0"/>
              </a:rPr>
              <a:t>menjad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domin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skip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erkura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iri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ertambah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jum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untu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di </a:t>
            </a:r>
            <a:r>
              <a:rPr lang="en-ID" sz="1800" kern="100" dirty="0" err="1">
                <a:effectLst/>
                <a:latin typeface="+mj-lt"/>
                <a:ea typeface="Calibri" panose="020F0502020204030204" pitchFamily="34" charset="0"/>
                <a:cs typeface="Times New Roman" panose="02020603050405020304" pitchFamily="18" charset="0"/>
              </a:rPr>
              <a:t>atas</a:t>
            </a:r>
            <a:r>
              <a:rPr lang="en-ID" sz="1800" kern="100" dirty="0">
                <a:effectLst/>
                <a:latin typeface="+mj-lt"/>
                <a:ea typeface="Calibri" panose="020F0502020204030204" pitchFamily="34" charset="0"/>
                <a:cs typeface="Times New Roman" panose="02020603050405020304" pitchFamily="18" charset="0"/>
              </a:rPr>
              <a:t> 5, Store </a:t>
            </a:r>
            <a:r>
              <a:rPr lang="en-ID" sz="1800" kern="100" dirty="0" err="1">
                <a:effectLst/>
                <a:latin typeface="+mj-lt"/>
                <a:ea typeface="Calibri" panose="020F0502020204030204" pitchFamily="34" charset="0"/>
                <a:cs typeface="Times New Roman" panose="02020603050405020304" pitchFamily="18" charset="0"/>
              </a:rPr>
              <a:t>tetap</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jad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iliha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signifikan</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err="1">
                <a:effectLst/>
                <a:latin typeface="+mj-lt"/>
                <a:ea typeface="Calibri" panose="020F0502020204030204" pitchFamily="34" charset="0"/>
                <a:cs typeface="Times New Roman" panose="02020603050405020304" pitchFamily="18" charset="0"/>
              </a:rPr>
              <a:t>Catalog</a:t>
            </a:r>
            <a:r>
              <a:rPr lang="en-ID" sz="1800" b="1" kern="100" dirty="0">
                <a:effectLst/>
                <a:latin typeface="+mj-lt"/>
                <a:ea typeface="Calibri" panose="020F0502020204030204" pitchFamily="34" charset="0"/>
                <a:cs typeface="Times New Roman" panose="02020603050405020304" pitchFamily="18" charset="0"/>
              </a:rPr>
              <a:t> dan Web</a:t>
            </a:r>
            <a:r>
              <a:rPr lang="en-ID" sz="1800" kern="100" dirty="0">
                <a:effectLst/>
                <a:latin typeface="+mj-lt"/>
                <a:ea typeface="Calibri" panose="020F0502020204030204" pitchFamily="34" charset="0"/>
                <a:cs typeface="Times New Roman" panose="02020603050405020304" pitchFamily="18" charset="0"/>
              </a:rPr>
              <a:t>: Pada level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leb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ingg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du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n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hampir</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ida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guna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kali</a:t>
            </a:r>
            <a:r>
              <a:rPr lang="en-ID" sz="1800" kern="100" dirty="0">
                <a:effectLst/>
                <a:latin typeface="+mj-lt"/>
                <a:ea typeface="Calibri" panose="020F0502020204030204" pitchFamily="34" charset="0"/>
                <a:cs typeface="Times New Roman" panose="02020603050405020304" pitchFamily="18" charset="0"/>
              </a:rPr>
              <a:t>.</a:t>
            </a:r>
          </a:p>
          <a:p>
            <a:pPr lvl="0">
              <a:lnSpc>
                <a:spcPct val="107000"/>
              </a:lnSpc>
              <a:spcAft>
                <a:spcPts val="800"/>
              </a:spcAft>
              <a:buSzPts val="1000"/>
              <a:tabLst>
                <a:tab pos="457200" algn="l"/>
              </a:tabLst>
            </a:pPr>
            <a:endParaRPr lang="en-ID"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397920" y="199772"/>
            <a:ext cx="13489200" cy="1247400"/>
          </a:xfrm>
        </p:spPr>
        <p:txBody>
          <a:bodyPr/>
          <a:lstStyle/>
          <a:p>
            <a:r>
              <a:rPr lang="en-ID" sz="2000" dirty="0" err="1"/>
              <a:t>Diskon</a:t>
            </a:r>
            <a:r>
              <a:rPr lang="en-ID" sz="2000" dirty="0"/>
              <a:t> </a:t>
            </a:r>
            <a:r>
              <a:rPr lang="en-ID" sz="2000" dirty="0" err="1"/>
              <a:t>cenderung</a:t>
            </a:r>
            <a:r>
              <a:rPr lang="en-ID" sz="2000" dirty="0"/>
              <a:t> </a:t>
            </a:r>
            <a:r>
              <a:rPr lang="en-ID" sz="2000" dirty="0" err="1"/>
              <a:t>mendorong</a:t>
            </a:r>
            <a:r>
              <a:rPr lang="en-ID" sz="2000" dirty="0"/>
              <a:t> </a:t>
            </a:r>
            <a:r>
              <a:rPr lang="en-ID" sz="2000" dirty="0" err="1"/>
              <a:t>pelanggan</a:t>
            </a:r>
            <a:r>
              <a:rPr lang="en-ID" sz="2000" dirty="0"/>
              <a:t> </a:t>
            </a:r>
            <a:r>
              <a:rPr lang="en-ID" sz="2000" dirty="0" err="1"/>
              <a:t>untuk</a:t>
            </a:r>
            <a:r>
              <a:rPr lang="en-ID" sz="2000" dirty="0"/>
              <a:t> </a:t>
            </a:r>
            <a:r>
              <a:rPr lang="en-ID" sz="2000" dirty="0" err="1"/>
              <a:t>lebih</a:t>
            </a:r>
            <a:r>
              <a:rPr lang="en-ID" sz="2000" dirty="0"/>
              <a:t> </a:t>
            </a:r>
            <a:r>
              <a:rPr lang="en-ID" sz="2000" dirty="0" err="1"/>
              <a:t>memilih</a:t>
            </a:r>
            <a:r>
              <a:rPr lang="en-ID" sz="2000" dirty="0"/>
              <a:t> </a:t>
            </a:r>
            <a:r>
              <a:rPr lang="en-ID" sz="2000" dirty="0" err="1"/>
              <a:t>berbelanja</a:t>
            </a:r>
            <a:r>
              <a:rPr lang="en-ID" sz="2000" dirty="0"/>
              <a:t> </a:t>
            </a:r>
            <a:r>
              <a:rPr lang="en-ID" sz="2000" dirty="0" err="1"/>
              <a:t>langsung</a:t>
            </a:r>
            <a:r>
              <a:rPr lang="en-ID" sz="2000" dirty="0"/>
              <a:t> di toko </a:t>
            </a:r>
            <a:r>
              <a:rPr lang="en-ID" sz="2000" dirty="0" err="1"/>
              <a:t>fisik</a:t>
            </a:r>
            <a:r>
              <a:rPr lang="en-ID" sz="2000" dirty="0"/>
              <a:t> (Store), </a:t>
            </a:r>
            <a:r>
              <a:rPr lang="en-ID" sz="2000" dirty="0" err="1"/>
              <a:t>terutama</a:t>
            </a:r>
            <a:r>
              <a:rPr lang="en-ID" sz="2000" dirty="0"/>
              <a:t> </a:t>
            </a:r>
            <a:r>
              <a:rPr lang="en-ID" sz="2000" dirty="0" err="1"/>
              <a:t>ketika</a:t>
            </a:r>
            <a:r>
              <a:rPr lang="en-ID" sz="2000" dirty="0"/>
              <a:t> </a:t>
            </a:r>
            <a:r>
              <a:rPr lang="en-ID" sz="2000" dirty="0" err="1"/>
              <a:t>mereka</a:t>
            </a:r>
            <a:r>
              <a:rPr lang="en-ID" sz="2000" dirty="0"/>
              <a:t> </a:t>
            </a:r>
            <a:r>
              <a:rPr lang="en-ID" sz="2000" dirty="0" err="1"/>
              <a:t>melakukan</a:t>
            </a:r>
            <a:r>
              <a:rPr lang="en-ID" sz="2000" dirty="0"/>
              <a:t> </a:t>
            </a:r>
            <a:r>
              <a:rPr lang="en-ID" sz="2000" dirty="0" err="1"/>
              <a:t>pembelian</a:t>
            </a:r>
            <a:r>
              <a:rPr lang="en-ID" sz="2000" dirty="0"/>
              <a:t> </a:t>
            </a:r>
            <a:r>
              <a:rPr lang="en-ID" sz="2000" dirty="0" err="1"/>
              <a:t>dalam</a:t>
            </a:r>
            <a:r>
              <a:rPr lang="en-ID" sz="2000" dirty="0"/>
              <a:t> </a:t>
            </a:r>
            <a:r>
              <a:rPr lang="en-ID" sz="2000" dirty="0" err="1"/>
              <a:t>jumlah</a:t>
            </a:r>
            <a:r>
              <a:rPr lang="en-ID" sz="2000" dirty="0"/>
              <a:t> yang </a:t>
            </a:r>
            <a:r>
              <a:rPr lang="en-ID" sz="2000" dirty="0" err="1"/>
              <a:t>lebih</a:t>
            </a:r>
            <a:r>
              <a:rPr lang="en-ID" sz="2000" dirty="0"/>
              <a:t> </a:t>
            </a:r>
            <a:r>
              <a:rPr lang="en-ID" sz="2000" dirty="0" err="1"/>
              <a:t>besar</a:t>
            </a:r>
            <a:r>
              <a:rPr lang="en-ID" sz="2000" dirty="0"/>
              <a:t>. </a:t>
            </a:r>
            <a:r>
              <a:rPr lang="en-ID" sz="2000" dirty="0" err="1"/>
              <a:t>Kanal</a:t>
            </a:r>
            <a:r>
              <a:rPr lang="en-ID" sz="2000" dirty="0"/>
              <a:t> </a:t>
            </a:r>
            <a:r>
              <a:rPr lang="en-ID" sz="2000" dirty="0" err="1"/>
              <a:t>Catalog</a:t>
            </a:r>
            <a:r>
              <a:rPr lang="en-ID" sz="2000" dirty="0"/>
              <a:t> dan Web </a:t>
            </a:r>
            <a:r>
              <a:rPr lang="en-ID" sz="2000" dirty="0" err="1"/>
              <a:t>cenderung</a:t>
            </a:r>
            <a:r>
              <a:rPr lang="en-ID" sz="2000" dirty="0"/>
              <a:t> </a:t>
            </a:r>
            <a:r>
              <a:rPr lang="en-ID" sz="2000" dirty="0" err="1"/>
              <a:t>digunakan</a:t>
            </a:r>
            <a:r>
              <a:rPr lang="en-ID" sz="2000" dirty="0"/>
              <a:t> </a:t>
            </a:r>
            <a:r>
              <a:rPr lang="en-ID" sz="2000" dirty="0" err="1"/>
              <a:t>untuk</a:t>
            </a:r>
            <a:r>
              <a:rPr lang="en-ID" sz="2000" dirty="0"/>
              <a:t> </a:t>
            </a:r>
            <a:r>
              <a:rPr lang="en-ID" sz="2000" dirty="0" err="1"/>
              <a:t>pembelian</a:t>
            </a:r>
            <a:r>
              <a:rPr lang="en-ID" sz="2000" dirty="0"/>
              <a:t> </a:t>
            </a:r>
            <a:r>
              <a:rPr lang="en-ID" sz="2000" dirty="0" err="1"/>
              <a:t>diskon</a:t>
            </a:r>
            <a:r>
              <a:rPr lang="en-ID" sz="2000" dirty="0"/>
              <a:t> </a:t>
            </a:r>
            <a:r>
              <a:rPr lang="en-ID" sz="2000" dirty="0" err="1"/>
              <a:t>dalam</a:t>
            </a:r>
            <a:r>
              <a:rPr lang="en-ID" sz="2000" dirty="0"/>
              <a:t> </a:t>
            </a:r>
            <a:r>
              <a:rPr lang="en-ID" sz="2000" dirty="0" err="1"/>
              <a:t>jumlah</a:t>
            </a:r>
            <a:r>
              <a:rPr lang="en-ID" sz="2000" dirty="0"/>
              <a:t> yang </a:t>
            </a:r>
            <a:r>
              <a:rPr lang="en-ID" sz="2000" dirty="0" err="1"/>
              <a:t>lebih</a:t>
            </a:r>
            <a:r>
              <a:rPr lang="en-ID" sz="2000" dirty="0"/>
              <a:t> </a:t>
            </a:r>
            <a:r>
              <a:rPr lang="en-ID" sz="2000" dirty="0" err="1"/>
              <a:t>sedikit</a:t>
            </a:r>
            <a:r>
              <a:rPr lang="en-ID" sz="2000" dirty="0"/>
              <a:t>.</a:t>
            </a:r>
            <a:r>
              <a:rPr lang="en-ID" sz="2000" b="1" i="0" dirty="0">
                <a:solidFill>
                  <a:srgbClr val="212121"/>
                </a:solidFill>
                <a:effectLst/>
                <a:highlight>
                  <a:srgbClr val="FFFFFF"/>
                </a:highlight>
              </a:rPr>
              <a:t>.</a:t>
            </a:r>
            <a:endParaRPr lang="en-US" sz="20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Bagaimana</a:t>
            </a:r>
            <a:r>
              <a:rPr lang="en-AU" sz="1500" b="1" i="1" dirty="0">
                <a:latin typeface="Arial" pitchFamily="34" charset="0"/>
                <a:cs typeface="Arial" pitchFamily="34" charset="0"/>
              </a:rPr>
              <a:t> </a:t>
            </a:r>
            <a:r>
              <a:rPr lang="en-AU" sz="1500" b="1" i="1" dirty="0" err="1">
                <a:latin typeface="Arial" pitchFamily="34" charset="0"/>
                <a:cs typeface="Arial" pitchFamily="34" charset="0"/>
              </a:rPr>
              <a:t>pengaruh</a:t>
            </a:r>
            <a:r>
              <a:rPr lang="en-AU" sz="1500" b="1" i="1" dirty="0">
                <a:latin typeface="Arial" pitchFamily="34" charset="0"/>
                <a:cs typeface="Arial" pitchFamily="34" charset="0"/>
              </a:rPr>
              <a:t> </a:t>
            </a:r>
            <a:r>
              <a:rPr lang="en-AU" sz="1500" b="1" i="1" dirty="0" err="1">
                <a:latin typeface="Arial" pitchFamily="34" charset="0"/>
                <a:cs typeface="Arial" pitchFamily="34" charset="0"/>
              </a:rPr>
              <a:t>diskon</a:t>
            </a:r>
            <a:r>
              <a:rPr lang="en-AU" sz="1500" b="1" i="1" dirty="0">
                <a:latin typeface="Arial" pitchFamily="34" charset="0"/>
                <a:cs typeface="Arial" pitchFamily="34" charset="0"/>
              </a:rPr>
              <a:t> </a:t>
            </a:r>
            <a:r>
              <a:rPr lang="en-AU" sz="1500" b="1" i="1" dirty="0" err="1">
                <a:latin typeface="Arial" pitchFamily="34" charset="0"/>
                <a:cs typeface="Arial" pitchFamily="34" charset="0"/>
              </a:rPr>
              <a:t>terhadap</a:t>
            </a:r>
            <a:r>
              <a:rPr lang="en-AU" sz="1500" b="1" i="1" dirty="0">
                <a:latin typeface="Arial" pitchFamily="34" charset="0"/>
                <a:cs typeface="Arial" pitchFamily="34" charset="0"/>
              </a:rPr>
              <a:t> </a:t>
            </a:r>
            <a:r>
              <a:rPr lang="en-AU" sz="1500" b="1" i="1" dirty="0" err="1">
                <a:latin typeface="Arial" pitchFamily="34" charset="0"/>
                <a:cs typeface="Arial" pitchFamily="34" charset="0"/>
              </a:rPr>
              <a:t>pilihan</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2052" name="Picture 4">
            <a:extLst>
              <a:ext uri="{FF2B5EF4-FFF2-40B4-BE49-F238E27FC236}">
                <a16:creationId xmlns:a16="http://schemas.microsoft.com/office/drawing/2014/main" id="{D6EF07C4-2C42-9FCD-B57D-7E31F6E10B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4" y="4224089"/>
            <a:ext cx="8181975" cy="5863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761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8" y="2423030"/>
            <a:ext cx="7786688"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b="1" dirty="0"/>
              <a:t>Web </a:t>
            </a:r>
            <a:r>
              <a:rPr lang="en-ID" sz="2000" dirty="0" err="1"/>
              <a:t>menjadi</a:t>
            </a:r>
            <a:r>
              <a:rPr lang="en-ID" sz="2000" dirty="0"/>
              <a:t> </a:t>
            </a:r>
            <a:r>
              <a:rPr lang="en-ID" sz="2000" dirty="0" err="1"/>
              <a:t>kanal</a:t>
            </a:r>
            <a:r>
              <a:rPr lang="en-ID" sz="2000" dirty="0"/>
              <a:t> </a:t>
            </a:r>
            <a:r>
              <a:rPr lang="en-ID" sz="2000" dirty="0" err="1"/>
              <a:t>dengan</a:t>
            </a:r>
            <a:r>
              <a:rPr lang="en-ID" sz="2000" dirty="0"/>
              <a:t> </a:t>
            </a:r>
            <a:r>
              <a:rPr lang="en-ID" sz="2000" dirty="0" err="1"/>
              <a:t>presentase</a:t>
            </a:r>
            <a:r>
              <a:rPr lang="en-ID" sz="2000" dirty="0"/>
              <a:t> rata-rata total </a:t>
            </a:r>
            <a:r>
              <a:rPr lang="en-ID" sz="2000" dirty="0" err="1"/>
              <a:t>pembelian</a:t>
            </a:r>
            <a:r>
              <a:rPr lang="en-ID" sz="2000" dirty="0"/>
              <a:t> </a:t>
            </a:r>
            <a:r>
              <a:rPr lang="en-ID" sz="2000" dirty="0" err="1"/>
              <a:t>terbesar</a:t>
            </a:r>
            <a:r>
              <a:rPr lang="en-ID" sz="2000" dirty="0"/>
              <a:t> (96%) Ketika </a:t>
            </a:r>
            <a:r>
              <a:rPr lang="en-ID" sz="2000" dirty="0" err="1"/>
              <a:t>pelanggan</a:t>
            </a:r>
            <a:r>
              <a:rPr lang="en-ID" sz="2000" dirty="0"/>
              <a:t> </a:t>
            </a:r>
            <a:r>
              <a:rPr lang="en-ID" sz="2000" dirty="0" err="1"/>
              <a:t>melakukan</a:t>
            </a:r>
            <a:r>
              <a:rPr lang="en-ID" sz="2000" dirty="0"/>
              <a:t> </a:t>
            </a:r>
            <a:r>
              <a:rPr lang="en-ID" sz="2000" dirty="0" err="1"/>
              <a:t>compain</a:t>
            </a:r>
            <a:r>
              <a:rPr lang="en-ID" sz="2000" dirty="0"/>
              <a:t>.  </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300308"/>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complain </a:t>
            </a:r>
            <a:r>
              <a:rPr lang="en-AU" sz="2400" b="1" kern="1200" dirty="0" err="1">
                <a:latin typeface="Arial" pitchFamily="34" charset="0"/>
                <a:ea typeface="+mn-ea"/>
                <a:cs typeface="Arial" pitchFamily="34" charset="0"/>
              </a:rPr>
              <a:t>terhadap</a:t>
            </a:r>
            <a:r>
              <a:rPr lang="en-AU" sz="2400" b="1" kern="1200" dirty="0">
                <a:latin typeface="Arial" pitchFamily="34" charset="0"/>
                <a:ea typeface="+mn-ea"/>
                <a:cs typeface="Arial" pitchFamily="34" charset="0"/>
              </a:rPr>
              <a:t> rata-rata total </a:t>
            </a:r>
            <a:r>
              <a:rPr lang="en-AU" sz="2400" b="1" kern="1200" dirty="0" err="1">
                <a:latin typeface="Arial" pitchFamily="34" charset="0"/>
                <a:ea typeface="+mn-ea"/>
                <a:cs typeface="Arial" pitchFamily="34" charset="0"/>
              </a:rPr>
              <a:t>pengeluaran</a:t>
            </a:r>
            <a:r>
              <a:rPr lang="en-AU" sz="2400" b="1" kern="1200" dirty="0">
                <a:latin typeface="Arial" pitchFamily="34" charset="0"/>
                <a:ea typeface="+mn-ea"/>
                <a:cs typeface="Arial" pitchFamily="34" charset="0"/>
              </a:rPr>
              <a:t> pada </a:t>
            </a:r>
            <a:r>
              <a:rPr lang="en-AU" sz="2400" b="1" kern="1200" dirty="0" err="1">
                <a:latin typeface="Arial" pitchFamily="34" charset="0"/>
                <a:ea typeface="+mn-ea"/>
                <a:cs typeface="Arial" pitchFamily="34" charset="0"/>
              </a:rPr>
              <a:t>setiap</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p>
        </p:txBody>
      </p:sp>
      <p:sp>
        <p:nvSpPr>
          <p:cNvPr id="8" name="Title 1"/>
          <p:cNvSpPr>
            <a:spLocks noGrp="1"/>
          </p:cNvSpPr>
          <p:nvPr>
            <p:ph type="title"/>
          </p:nvPr>
        </p:nvSpPr>
        <p:spPr>
          <a:xfrm>
            <a:off x="2397920" y="199772"/>
            <a:ext cx="13489200" cy="1247400"/>
          </a:xfrm>
        </p:spPr>
        <p:txBody>
          <a:bodyPr/>
          <a:lstStyle/>
          <a:p>
            <a:r>
              <a:rPr lang="en-ID" sz="2400" dirty="0"/>
              <a:t>Rata-rata total </a:t>
            </a:r>
            <a:r>
              <a:rPr lang="en-ID" sz="2400" dirty="0" err="1"/>
              <a:t>pengeluaran</a:t>
            </a:r>
            <a:r>
              <a:rPr lang="en-ID" sz="2400" dirty="0"/>
              <a:t> </a:t>
            </a:r>
            <a:r>
              <a:rPr lang="en-ID" sz="2400" dirty="0" err="1"/>
              <a:t>pelanggan</a:t>
            </a:r>
            <a:r>
              <a:rPr lang="en-ID" sz="2400" dirty="0"/>
              <a:t> </a:t>
            </a:r>
            <a:r>
              <a:rPr lang="en-ID" sz="2400" dirty="0" err="1"/>
              <a:t>cenderung</a:t>
            </a:r>
            <a:r>
              <a:rPr lang="en-ID" sz="2400" dirty="0"/>
              <a:t> </a:t>
            </a:r>
            <a:r>
              <a:rPr lang="en-ID" sz="2400" dirty="0" err="1"/>
              <a:t>lebih</a:t>
            </a:r>
            <a:r>
              <a:rPr lang="en-ID" sz="2400" dirty="0"/>
              <a:t> </a:t>
            </a:r>
            <a:r>
              <a:rPr lang="en-ID" sz="2400" dirty="0" err="1"/>
              <a:t>rendah</a:t>
            </a:r>
            <a:r>
              <a:rPr lang="en-ID" sz="2400" dirty="0"/>
              <a:t> </a:t>
            </a:r>
            <a:r>
              <a:rPr lang="en-ID" sz="2400" dirty="0" err="1"/>
              <a:t>ketika</a:t>
            </a:r>
            <a:r>
              <a:rPr lang="en-ID" sz="2400" dirty="0"/>
              <a:t> </a:t>
            </a:r>
            <a:r>
              <a:rPr lang="en-ID" sz="2400" dirty="0" err="1"/>
              <a:t>pelanggan</a:t>
            </a:r>
            <a:r>
              <a:rPr lang="en-ID" sz="2400" dirty="0"/>
              <a:t> </a:t>
            </a:r>
            <a:r>
              <a:rPr lang="en-ID" sz="2400" dirty="0" err="1"/>
              <a:t>melakukan</a:t>
            </a:r>
            <a:r>
              <a:rPr lang="en-ID" sz="2400" dirty="0"/>
              <a:t> complain </a:t>
            </a:r>
            <a:r>
              <a:rPr lang="en-ID" sz="2400" dirty="0" err="1"/>
              <a:t>ini</a:t>
            </a:r>
            <a:r>
              <a:rPr lang="en-ID" sz="2400" dirty="0"/>
              <a:t> </a:t>
            </a:r>
            <a:r>
              <a:rPr lang="en-ID" sz="2400" dirty="0" err="1"/>
              <a:t>menunjukkan</a:t>
            </a:r>
            <a:r>
              <a:rPr lang="en-ID" sz="2400" dirty="0"/>
              <a:t> </a:t>
            </a:r>
            <a:r>
              <a:rPr lang="en-ID" sz="2400" dirty="0" err="1"/>
              <a:t>semakin</a:t>
            </a:r>
            <a:r>
              <a:rPr lang="en-ID" sz="2400" dirty="0"/>
              <a:t> </a:t>
            </a:r>
            <a:r>
              <a:rPr lang="en-ID" sz="2400" dirty="0" err="1"/>
              <a:t>banyak</a:t>
            </a:r>
            <a:r>
              <a:rPr lang="en-ID" sz="2400" dirty="0"/>
              <a:t> complain, </a:t>
            </a:r>
            <a:r>
              <a:rPr lang="en-ID" sz="2400" dirty="0" err="1"/>
              <a:t>semakin</a:t>
            </a:r>
            <a:r>
              <a:rPr lang="en-ID" sz="2400" dirty="0"/>
              <a:t> </a:t>
            </a:r>
            <a:r>
              <a:rPr lang="en-ID" sz="2400" dirty="0" err="1"/>
              <a:t>kecil</a:t>
            </a:r>
            <a:r>
              <a:rPr lang="en-ID" sz="2400" dirty="0"/>
              <a:t> </a:t>
            </a:r>
            <a:r>
              <a:rPr lang="en-ID" sz="2400" dirty="0" err="1"/>
              <a:t>kemungkinan</a:t>
            </a:r>
            <a:r>
              <a:rPr lang="en-ID" sz="2400" dirty="0"/>
              <a:t> </a:t>
            </a:r>
            <a:r>
              <a:rPr lang="en-ID" sz="2400" dirty="0" err="1"/>
              <a:t>pelanggan</a:t>
            </a:r>
            <a:r>
              <a:rPr lang="en-ID" sz="2400" dirty="0"/>
              <a:t> </a:t>
            </a:r>
            <a:r>
              <a:rPr lang="en-ID" sz="2400" dirty="0" err="1"/>
              <a:t>untuk</a:t>
            </a:r>
            <a:r>
              <a:rPr lang="en-ID" sz="2400" dirty="0"/>
              <a:t> </a:t>
            </a:r>
            <a:r>
              <a:rPr lang="en-ID" sz="2400" dirty="0" err="1"/>
              <a:t>melakukan</a:t>
            </a:r>
            <a:r>
              <a:rPr lang="en-ID" sz="2400" dirty="0"/>
              <a:t> </a:t>
            </a:r>
            <a:r>
              <a:rPr lang="en-ID" sz="2400" dirty="0" err="1"/>
              <a:t>pembelian</a:t>
            </a:r>
            <a:r>
              <a:rPr lang="en-ID" sz="2400" dirty="0"/>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Seberapa</a:t>
            </a:r>
            <a:r>
              <a:rPr lang="en-AU" sz="1500" b="1" i="1" dirty="0">
                <a:latin typeface="Arial" pitchFamily="34" charset="0"/>
                <a:cs typeface="Arial" pitchFamily="34" charset="0"/>
              </a:rPr>
              <a:t> </a:t>
            </a:r>
            <a:r>
              <a:rPr lang="en-AU" sz="1500" b="1" i="1" dirty="0" err="1">
                <a:latin typeface="Arial" pitchFamily="34" charset="0"/>
                <a:cs typeface="Arial" pitchFamily="34" charset="0"/>
              </a:rPr>
              <a:t>besar</a:t>
            </a:r>
            <a:r>
              <a:rPr lang="en-AU" sz="1500" b="1" i="1" dirty="0">
                <a:latin typeface="Arial" pitchFamily="34" charset="0"/>
                <a:cs typeface="Arial" pitchFamily="34" charset="0"/>
              </a:rPr>
              <a:t> </a:t>
            </a:r>
            <a:r>
              <a:rPr lang="en-AU" sz="1500" b="1" i="1" dirty="0" err="1">
                <a:latin typeface="Arial" pitchFamily="34" charset="0"/>
                <a:cs typeface="Arial" pitchFamily="34" charset="0"/>
              </a:rPr>
              <a:t>pengaruh</a:t>
            </a:r>
            <a:r>
              <a:rPr lang="en-AU" sz="1500" b="1" i="1" dirty="0">
                <a:latin typeface="Arial" pitchFamily="34" charset="0"/>
                <a:cs typeface="Arial" pitchFamily="34" charset="0"/>
              </a:rPr>
              <a:t> complain </a:t>
            </a:r>
            <a:r>
              <a:rPr lang="en-AU" sz="1500" b="1" i="1" dirty="0" err="1">
                <a:latin typeface="Arial" pitchFamily="34" charset="0"/>
                <a:cs typeface="Arial" pitchFamily="34" charset="0"/>
              </a:rPr>
              <a:t>terhadap</a:t>
            </a:r>
            <a:r>
              <a:rPr lang="en-AU" sz="1500" b="1" i="1" dirty="0">
                <a:latin typeface="Arial" pitchFamily="34" charset="0"/>
                <a:cs typeface="Arial" pitchFamily="34" charset="0"/>
              </a:rPr>
              <a:t> Keputusan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3078" name="Picture 6">
            <a:extLst>
              <a:ext uri="{FF2B5EF4-FFF2-40B4-BE49-F238E27FC236}">
                <a16:creationId xmlns:a16="http://schemas.microsoft.com/office/drawing/2014/main" id="{FA7600C4-0131-527D-CF1A-E4482EB5A3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3812433"/>
            <a:ext cx="8181975" cy="5874492"/>
          </a:xfrm>
          <a:prstGeom prst="rect">
            <a:avLst/>
          </a:prstGeom>
          <a:noFill/>
          <a:extLst>
            <a:ext uri="{909E8E84-426E-40DD-AFC4-6F175D3DCCD1}">
              <a14:hiddenFill xmlns:a14="http://schemas.microsoft.com/office/drawing/2010/main">
                <a:solidFill>
                  <a:srgbClr val="FFFFFF"/>
                </a:solidFill>
              </a14:hiddenFill>
            </a:ext>
          </a:extLst>
        </p:spPr>
      </p:pic>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20263" y="3684739"/>
            <a:ext cx="8181975" cy="5589294"/>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dirty="0" err="1">
                <a:solidFill>
                  <a:srgbClr val="212121"/>
                </a:solidFill>
                <a:highlight>
                  <a:srgbClr val="FFFFFF"/>
                </a:highlight>
                <a:latin typeface="+mj-lt"/>
              </a:rPr>
              <a:t>P</a:t>
            </a:r>
            <a:r>
              <a:rPr lang="en-ID" sz="2400" b="0" i="0" dirty="0" err="1">
                <a:solidFill>
                  <a:srgbClr val="212121"/>
                </a:solidFill>
                <a:effectLst/>
                <a:highlight>
                  <a:srgbClr val="FFFFFF"/>
                </a:highlight>
                <a:latin typeface="+mj-lt"/>
              </a:rPr>
              <a:t>elang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tid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a:t>
            </a:r>
            <a:r>
              <a:rPr lang="en-ID" sz="2400" b="0" i="0" dirty="0" err="1">
                <a:solidFill>
                  <a:srgbClr val="212121"/>
                </a:solidFill>
                <a:effectLst/>
                <a:highlight>
                  <a:srgbClr val="FFFFFF"/>
                </a:highlight>
                <a:latin typeface="+mj-lt"/>
              </a:rPr>
              <a:t>cenderung</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miliki</a:t>
            </a:r>
            <a:r>
              <a:rPr lang="en-ID" sz="2400" b="0" i="0" dirty="0">
                <a:solidFill>
                  <a:srgbClr val="212121"/>
                </a:solidFill>
                <a:effectLst/>
                <a:highlight>
                  <a:srgbClr val="FFFFFF"/>
                </a:highlight>
                <a:latin typeface="+mj-lt"/>
              </a:rPr>
              <a:t>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relatif</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bany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dibandingk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den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Web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tid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2376</a:t>
            </a:r>
            <a:r>
              <a:rPr lang="en-ID" sz="2400" b="0" i="0" dirty="0">
                <a:solidFill>
                  <a:srgbClr val="212121"/>
                </a:solidFill>
                <a:effectLst/>
                <a:highlight>
                  <a:srgbClr val="FFFFFF"/>
                </a:highlight>
                <a:latin typeface="+mj-lt"/>
              </a:rPr>
              <a:t>,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Catalog</a:t>
            </a:r>
            <a:r>
              <a:rPr lang="en-ID" sz="2400" b="0" i="0" dirty="0">
                <a:solidFill>
                  <a:srgbClr val="212121"/>
                </a:solidFill>
                <a:effectLst/>
                <a:highlight>
                  <a:srgbClr val="FFFFFF"/>
                </a:highlight>
                <a:latin typeface="+mj-lt"/>
              </a:rPr>
              <a:t> da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Store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1537</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pelang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Web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2287</a:t>
            </a:r>
            <a:r>
              <a:rPr lang="en-ID" sz="2400" b="0" i="0" dirty="0">
                <a:solidFill>
                  <a:srgbClr val="212121"/>
                </a:solidFill>
                <a:effectLst/>
                <a:highlight>
                  <a:srgbClr val="FFFFFF"/>
                </a:highlight>
                <a:latin typeface="+mj-lt"/>
              </a:rPr>
              <a:t>,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Catalog</a:t>
            </a:r>
            <a:r>
              <a:rPr lang="en-ID" sz="2400" b="0" i="0" dirty="0">
                <a:solidFill>
                  <a:srgbClr val="212121"/>
                </a:solidFill>
                <a:effectLst/>
                <a:highlight>
                  <a:srgbClr val="FFFFFF"/>
                </a:highlight>
                <a:latin typeface="+mj-lt"/>
              </a:rPr>
              <a:t> dan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Store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1143</a:t>
            </a:r>
            <a:r>
              <a:rPr lang="en-ID" sz="2400" b="0" i="0" dirty="0">
                <a:solidFill>
                  <a:srgbClr val="212121"/>
                </a:solidFill>
                <a:effectLst/>
                <a:highlight>
                  <a:srgbClr val="FFFFFF"/>
                </a:highlight>
                <a:latin typeface="+mj-lt"/>
              </a:rPr>
              <a:t>. </a:t>
            </a:r>
            <a:endParaRPr lang="en-ID" sz="2400" kern="100" dirty="0">
              <a:effectLst/>
              <a:latin typeface="+mj-lt"/>
              <a:ea typeface="Calibri" panose="020F0502020204030204" pitchFamily="34" charset="0"/>
              <a:cs typeface="Times New Roman" panose="02020603050405020304" pitchFamily="18" charset="0"/>
            </a:endParaRPr>
          </a:p>
          <a:p>
            <a:pPr marL="604838" lvl="2" defTabSz="1371600">
              <a:buClr>
                <a:srgbClr val="177B57"/>
              </a:buClr>
            </a:pPr>
            <a:endParaRPr lang="en-AU" sz="1800" kern="1200" dirty="0">
              <a:latin typeface="Arial" pitchFamily="34" charset="0"/>
              <a:ea typeface="+mn-ea"/>
              <a:cs typeface="Arial" pitchFamily="34" charset="0"/>
            </a:endParaRPr>
          </a:p>
        </p:txBody>
      </p:sp>
    </p:spTree>
    <p:extLst>
      <p:ext uri="{BB962C8B-B14F-4D97-AF65-F5344CB8AC3E}">
        <p14:creationId xmlns:p14="http://schemas.microsoft.com/office/powerpoint/2010/main" val="1238451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NThcbfcTFmbRRHVssfS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FznPlLRStSROL2zLmKv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heme/theme1.xml><?xml version="1.0" encoding="utf-8"?>
<a:theme xmlns:a="http://schemas.openxmlformats.org/drawingml/2006/main" name="Talent Management McKinsey Slides">
  <a:themeElements>
    <a:clrScheme name="Office">
      <a:dk1>
        <a:srgbClr val="000000"/>
      </a:dk1>
      <a:lt1>
        <a:srgbClr val="FFFFFF"/>
      </a:lt1>
      <a:dk2>
        <a:srgbClr val="0B6AE9"/>
      </a:dk2>
      <a:lt2>
        <a:srgbClr val="F8F9FB"/>
      </a:lt2>
      <a:accent1>
        <a:srgbClr val="FFFFFF"/>
      </a:accent1>
      <a:accent2>
        <a:srgbClr val="FFFFFF"/>
      </a:accent2>
      <a:accent3>
        <a:srgbClr val="0F1A38"/>
      </a:accent3>
      <a:accent4>
        <a:srgbClr val="F9FAFB"/>
      </a:accent4>
      <a:accent5>
        <a:srgbClr val="FFFFFF"/>
      </a:accent5>
      <a:accent6>
        <a:srgbClr val="0B6AE9"/>
      </a:accent6>
      <a:hlink>
        <a:srgbClr val="0F1A38"/>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6</TotalTime>
  <Words>3106</Words>
  <Application>Microsoft Office PowerPoint</Application>
  <PresentationFormat>Custom</PresentationFormat>
  <Paragraphs>161</Paragraphs>
  <Slides>23</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2" baseType="lpstr">
      <vt:lpstr>Arial</vt:lpstr>
      <vt:lpstr>Calibri</vt:lpstr>
      <vt:lpstr>Roboto</vt:lpstr>
      <vt:lpstr>Open Sans</vt:lpstr>
      <vt:lpstr>Old Standard TT</vt:lpstr>
      <vt:lpstr>Symbol</vt:lpstr>
      <vt:lpstr>Talent Management McKinsey Slides</vt:lpstr>
      <vt:lpstr>Blank</vt:lpstr>
      <vt:lpstr>think-cell Slide</vt:lpstr>
      <vt:lpstr>PowerPoint Presentation</vt:lpstr>
      <vt:lpstr>PowerPoint Presentation</vt:lpstr>
      <vt:lpstr>Catatan untuk pembaca</vt:lpstr>
      <vt:lpstr>PowerPoint Presentation</vt:lpstr>
      <vt:lpstr>Kecenderungan bagi pelanggan untuk lebih sering memilih Kanal Catalog ketika pembelian mereka sedikit, dan beralih ke  Kanal Store ketika mereka melakukan lebih banyak pembelian. Kanal Web digunakan secara merata di berbagai tingkat frekuensi pembelian.</vt:lpstr>
      <vt:lpstr>Pelanggan cenderung mengeluarkan uang lebih banyak ketika berbelanja melalui kanal catalog dibandingkan dengan kanal lainnya. Rata-rata pengeluaran per pembelian melalui Catalog jauh lebih tinggi dibandingkan dengan Web dan Store.</vt:lpstr>
      <vt:lpstr>Terdapat kesamaan yang cukup signifikan dalam pola pembelian pelanggan di ketiga kanal (Web, Catalog, dan Store). Secara umum, produk anggur (Wines) merupakan produk yang paling banyak dibeli di semua kanal.</vt:lpstr>
      <vt:lpstr>Diskon cenderung mendorong pelanggan untuk lebih memilih berbelanja langsung di toko fisik (Store), terutama ketika mereka melakukan pembelian dalam jumlah yang lebih besar. Kanal Catalog dan Web cenderung digunakan untuk pembelian diskon dalam jumlah yang lebih sedikit..</vt:lpstr>
      <vt:lpstr>Rata-rata total pengeluaran pelanggan cenderung lebih rendah ketika pelanggan melakukan complain ini menunjukkan semakin banyak complain, semakin kecil kemungkinan pelanggan untuk melakukan pembelian.</vt:lpstr>
      <vt:lpstr>Variasi usia pelanggan di setiap kanal cenderung serupa. Artinya, di setiap kanal terdapat pelanggan dengan rentang usia yang cukup luas, mulai dari yang muda hingga yang tua. Dengan rentang usia 50 tahun paling mendominasi.</vt:lpstr>
      <vt:lpstr>Pendapatan bukan merupakan faktor utama dalam menentukan pilihan kanal pembelian pelanggan. Karena pada kanal pembelian Web, Catalog, dan Store pelanggan cenderung memiliki pendapatan dengan range 40.000 – 60.000.</vt:lpstr>
      <vt:lpstr> Secara keseluruhan, kampanye pemasaran cenderung mendorong lebih banyak pembelian melalui toko fisik (NumStorePurchases) dengan jumlah penerimaan kampanye diatas 800 (kecuali pada kampanye ke 2) dibandingkan dengan kanal web atau katalog. Hal ini mengindikasikan bahwa kampanye-kampanye ini efektif dalam menarik pelanggan ke toko fisik.</vt:lpstr>
      <vt:lpstr>Perbedaan Utama dalam perilaku pembelian antara Web vs Catalog vs Store:</vt:lpstr>
      <vt:lpstr> Terapkan strategi keterlibatan pasca-pembelian yang dipersonalisasi dalam mempertahankan dan meningkatkan Frekuensi Pembelian</vt:lpstr>
      <vt:lpstr>Strategi cross-sell dan up-sell sangat efektif untuk mempertahankan dan meningkatkan Rata-rata Pengeluaran per Pembelian</vt:lpstr>
      <vt:lpstr>Kembangkan pendekatan proaktif terhadap manajemen keluhan untuk meminimalisir Compain pelanggan.</vt:lpstr>
      <vt:lpstr>Tetapkan tujuan dan metrik yang jelas (ROI, Conversion Rate, dan Customer Acquisition Rate)</vt:lpstr>
      <vt:lpstr>Rekomendasi untuk Frekuensi Pembelian pada kanal Web, Catalog , dan Store.</vt:lpstr>
      <vt:lpstr>Rekomendasi untuk Rata-rata Pengeluaran per Pembelian pada kanal Web, Catalog , dan Store.</vt:lpstr>
      <vt:lpstr>Rekomendasi untuk mengurangi Complaints pada kanal Web, Catalog , dan Store.</vt:lpstr>
      <vt:lpstr>Rekomendasi untuk Efektivitas Kampanye Pemasaran pada kanal Web, Catalog , dan Store.</vt:lpstr>
      <vt:lpstr>Disclaim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Mochamad Aditya</cp:lastModifiedBy>
  <cp:revision>11</cp:revision>
  <dcterms:modified xsi:type="dcterms:W3CDTF">2024-08-26T12:32:54Z</dcterms:modified>
</cp:coreProperties>
</file>